
<file path=[Content_Types].xml><?xml version="1.0" encoding="utf-8"?>
<Types xmlns="http://schemas.openxmlformats.org/package/2006/content-types">
  <Default Extension="tmp" ContentType="image/png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3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4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5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6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7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8.xml" ContentType="application/vnd.openxmlformats-officedocument.theme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9.xml" ContentType="application/vnd.openxmlformats-officedocument.theme+xml"/>
  <Override PartName="/ppt/theme/theme10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notesSlides/notesSlide5.xml" ContentType="application/vnd.openxmlformats-officedocument.presentationml.notesSlide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notesSlides/notesSlide6.xml" ContentType="application/vnd.openxmlformats-officedocument.presentationml.notesSlide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notesSlides/notesSlide7.xml" ContentType="application/vnd.openxmlformats-officedocument.presentationml.notesSlide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notesSlides/notesSlide8.xml" ContentType="application/vnd.openxmlformats-officedocument.presentationml.notesSlide+xml"/>
  <Override PartName="/ppt/charts/chart22.xml" ContentType="application/vnd.openxmlformats-officedocument.drawingml.chart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notesSlides/notesSlide9.xml" ContentType="application/vnd.openxmlformats-officedocument.presentationml.notesSlide+xml"/>
  <Override PartName="/ppt/charts/chart23.xml" ContentType="application/vnd.openxmlformats-officedocument.drawingml.chart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rts/chart24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tags/tag189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25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26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notesSlides/notesSlide14.xml" ContentType="application/vnd.openxmlformats-officedocument.presentationml.notesSlide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notesSlides/notesSlide15.xml" ContentType="application/vnd.openxmlformats-officedocument.presentationml.notesSlide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charts/chart27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28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charts/chart29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notesSlides/notesSlide17.xml" ContentType="application/vnd.openxmlformats-officedocument.presentationml.notesSlide+xml"/>
  <Override PartName="/ppt/charts/chart30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charts/chart31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ppt/charts/chart32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ppt/charts/chart33.xml" ContentType="application/vnd.openxmlformats-officedocument.drawingml.chart+xml"/>
  <Override PartName="/ppt/charts/style31.xml" ContentType="application/vnd.ms-office.chartstyle+xml"/>
  <Override PartName="/ppt/charts/colors31.xml" ContentType="application/vnd.ms-office.chartcolorstyle+xml"/>
  <Override PartName="/ppt/charts/chart34.xml" ContentType="application/vnd.openxmlformats-officedocument.drawingml.chart+xml"/>
  <Override PartName="/ppt/charts/style32.xml" ContentType="application/vnd.ms-office.chartstyle+xml"/>
  <Override PartName="/ppt/charts/colors32.xml" ContentType="application/vnd.ms-office.chartcolorstyle+xml"/>
  <Override PartName="/ppt/charts/chart35.xml" ContentType="application/vnd.openxmlformats-officedocument.drawingml.chart+xml"/>
  <Override PartName="/ppt/charts/style33.xml" ContentType="application/vnd.ms-office.chartstyle+xml"/>
  <Override PartName="/ppt/charts/colors33.xml" ContentType="application/vnd.ms-office.chartcolorstyle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charts/chart36.xml" ContentType="application/vnd.openxmlformats-officedocument.drawingml.chart+xml"/>
  <Override PartName="/ppt/charts/style34.xml" ContentType="application/vnd.ms-office.chartstyle+xml"/>
  <Override PartName="/ppt/charts/colors34.xml" ContentType="application/vnd.ms-office.chartcolorstyle+xml"/>
  <Override PartName="/ppt/charts/chart37.xml" ContentType="application/vnd.openxmlformats-officedocument.drawingml.chart+xml"/>
  <Override PartName="/ppt/charts/style35.xml" ContentType="application/vnd.ms-office.chartstyle+xml"/>
  <Override PartName="/ppt/charts/colors35.xml" ContentType="application/vnd.ms-office.chartcolorstyle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charts/chart38.xml" ContentType="application/vnd.openxmlformats-officedocument.drawingml.chart+xml"/>
  <Override PartName="/ppt/charts/style36.xml" ContentType="application/vnd.ms-office.chartstyle+xml"/>
  <Override PartName="/ppt/charts/colors36.xml" ContentType="application/vnd.ms-office.chartcolorstyle+xml"/>
  <Override PartName="/ppt/charts/chart39.xml" ContentType="application/vnd.openxmlformats-officedocument.drawingml.chart+xml"/>
  <Override PartName="/ppt/charts/style37.xml" ContentType="application/vnd.ms-office.chartstyle+xml"/>
  <Override PartName="/ppt/charts/colors37.xml" ContentType="application/vnd.ms-office.chartcolorstyle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charts/chart40.xml" ContentType="application/vnd.openxmlformats-officedocument.drawingml.chart+xml"/>
  <Override PartName="/ppt/charts/style38.xml" ContentType="application/vnd.ms-office.chartstyle+xml"/>
  <Override PartName="/ppt/charts/colors38.xml" ContentType="application/vnd.ms-office.chartcolorstyle+xml"/>
  <Override PartName="/ppt/charts/chart41.xml" ContentType="application/vnd.openxmlformats-officedocument.drawingml.chart+xml"/>
  <Override PartName="/ppt/charts/style39.xml" ContentType="application/vnd.ms-office.chartstyle+xml"/>
  <Override PartName="/ppt/charts/colors39.xml" ContentType="application/vnd.ms-office.chartcolorstyle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679" r:id="rId1"/>
    <p:sldMasterId id="2147483705" r:id="rId2"/>
    <p:sldMasterId id="2147483740" r:id="rId3"/>
    <p:sldMasterId id="2147483776" r:id="rId4"/>
    <p:sldMasterId id="2147483792" r:id="rId5"/>
    <p:sldMasterId id="2147483809" r:id="rId6"/>
    <p:sldMasterId id="2147483815" r:id="rId7"/>
    <p:sldMasterId id="2147483825" r:id="rId8"/>
    <p:sldMasterId id="2147483864" r:id="rId9"/>
  </p:sldMasterIdLst>
  <p:notesMasterIdLst>
    <p:notesMasterId r:id="rId56"/>
  </p:notesMasterIdLst>
  <p:sldIdLst>
    <p:sldId id="1751" r:id="rId10"/>
    <p:sldId id="1801" r:id="rId11"/>
    <p:sldId id="2156" r:id="rId12"/>
    <p:sldId id="1768" r:id="rId13"/>
    <p:sldId id="1820" r:id="rId14"/>
    <p:sldId id="1833" r:id="rId15"/>
    <p:sldId id="2120" r:id="rId16"/>
    <p:sldId id="1882" r:id="rId17"/>
    <p:sldId id="2155" r:id="rId18"/>
    <p:sldId id="1822" r:id="rId19"/>
    <p:sldId id="2144" r:id="rId20"/>
    <p:sldId id="2145" r:id="rId21"/>
    <p:sldId id="1843" r:id="rId22"/>
    <p:sldId id="2121" r:id="rId23"/>
    <p:sldId id="2122" r:id="rId24"/>
    <p:sldId id="2123" r:id="rId25"/>
    <p:sldId id="2124" r:id="rId26"/>
    <p:sldId id="2141" r:id="rId27"/>
    <p:sldId id="2125" r:id="rId28"/>
    <p:sldId id="2126" r:id="rId29"/>
    <p:sldId id="1727" r:id="rId30"/>
    <p:sldId id="1828" r:id="rId31"/>
    <p:sldId id="1914" r:id="rId32"/>
    <p:sldId id="1883" r:id="rId33"/>
    <p:sldId id="1917" r:id="rId34"/>
    <p:sldId id="1406" r:id="rId35"/>
    <p:sldId id="2157" r:id="rId36"/>
    <p:sldId id="2146" r:id="rId37"/>
    <p:sldId id="2147" r:id="rId38"/>
    <p:sldId id="2148" r:id="rId39"/>
    <p:sldId id="1835" r:id="rId40"/>
    <p:sldId id="2158" r:id="rId41"/>
    <p:sldId id="2159" r:id="rId42"/>
    <p:sldId id="2160" r:id="rId43"/>
    <p:sldId id="1894" r:id="rId44"/>
    <p:sldId id="2152" r:id="rId45"/>
    <p:sldId id="2161" r:id="rId46"/>
    <p:sldId id="2154" r:id="rId47"/>
    <p:sldId id="2162" r:id="rId48"/>
    <p:sldId id="1989" r:id="rId49"/>
    <p:sldId id="2153" r:id="rId50"/>
    <p:sldId id="1842" r:id="rId51"/>
    <p:sldId id="2102" r:id="rId52"/>
    <p:sldId id="2103" r:id="rId53"/>
    <p:sldId id="2104" r:id="rId54"/>
    <p:sldId id="1776" r:id="rId55"/>
  </p:sldIdLst>
  <p:sldSz cx="12192000" cy="6858000"/>
  <p:notesSz cx="6858000" cy="9144000"/>
  <p:embeddedFontLst>
    <p:embeddedFont>
      <p:font typeface="Calibri Light" panose="020F0302020204030204" pitchFamily="34" charset="0"/>
      <p:regular r:id="rId57"/>
      <p:italic r:id="rId58"/>
    </p:embeddedFont>
    <p:embeddedFont>
      <p:font typeface="Calibri" panose="020F0502020204030204" pitchFamily="34" charset="0"/>
      <p:regular r:id="rId59"/>
      <p:bold r:id="rId60"/>
      <p:italic r:id="rId61"/>
      <p:boldItalic r:id="rId62"/>
    </p:embeddedFont>
  </p:embeddedFontLst>
  <p:custDataLst>
    <p:tags r:id="rId63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67" userDrawn="1">
          <p15:clr>
            <a:srgbClr val="A4A3A4"/>
          </p15:clr>
        </p15:guide>
        <p15:guide id="2" pos="43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19FA0"/>
    <a:srgbClr val="6D6B6B"/>
    <a:srgbClr val="FF0000"/>
    <a:srgbClr val="00FF00"/>
    <a:srgbClr val="0000FF"/>
    <a:srgbClr val="666363"/>
    <a:srgbClr val="B0C2E5"/>
    <a:srgbClr val="4CB9FC"/>
    <a:srgbClr val="D0CCCE"/>
    <a:srgbClr val="D3114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260" autoAdjust="0"/>
    <p:restoredTop sz="96265" autoAdjust="0"/>
  </p:normalViewPr>
  <p:slideViewPr>
    <p:cSldViewPr snapToGrid="0">
      <p:cViewPr varScale="1">
        <p:scale>
          <a:sx n="103" d="100"/>
          <a:sy n="103" d="100"/>
        </p:scale>
        <p:origin x="504" y="114"/>
      </p:cViewPr>
      <p:guideLst>
        <p:guide orient="horz" pos="867"/>
        <p:guide pos="438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50" d="100"/>
        <a:sy n="50" d="100"/>
      </p:scale>
      <p:origin x="0" y="-343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39" Type="http://schemas.openxmlformats.org/officeDocument/2006/relationships/slide" Target="slides/slide30.xml"/><Relationship Id="rId21" Type="http://schemas.openxmlformats.org/officeDocument/2006/relationships/slide" Target="slides/slide12.xml"/><Relationship Id="rId34" Type="http://schemas.openxmlformats.org/officeDocument/2006/relationships/slide" Target="slides/slide25.xml"/><Relationship Id="rId42" Type="http://schemas.openxmlformats.org/officeDocument/2006/relationships/slide" Target="slides/slide33.xml"/><Relationship Id="rId47" Type="http://schemas.openxmlformats.org/officeDocument/2006/relationships/slide" Target="slides/slide38.xml"/><Relationship Id="rId50" Type="http://schemas.openxmlformats.org/officeDocument/2006/relationships/slide" Target="slides/slide41.xml"/><Relationship Id="rId55" Type="http://schemas.openxmlformats.org/officeDocument/2006/relationships/slide" Target="slides/slide46.xml"/><Relationship Id="rId63" Type="http://schemas.openxmlformats.org/officeDocument/2006/relationships/tags" Target="tags/tag1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7.xml"/><Relationship Id="rId29" Type="http://schemas.openxmlformats.org/officeDocument/2006/relationships/slide" Target="slides/slide20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slide" Target="slides/slide23.xml"/><Relationship Id="rId37" Type="http://schemas.openxmlformats.org/officeDocument/2006/relationships/slide" Target="slides/slide28.xml"/><Relationship Id="rId40" Type="http://schemas.openxmlformats.org/officeDocument/2006/relationships/slide" Target="slides/slide31.xml"/><Relationship Id="rId45" Type="http://schemas.openxmlformats.org/officeDocument/2006/relationships/slide" Target="slides/slide36.xml"/><Relationship Id="rId53" Type="http://schemas.openxmlformats.org/officeDocument/2006/relationships/slide" Target="slides/slide44.xml"/><Relationship Id="rId58" Type="http://schemas.openxmlformats.org/officeDocument/2006/relationships/font" Target="fonts/font2.fntdata"/><Relationship Id="rId66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openxmlformats.org/officeDocument/2006/relationships/slide" Target="slides/slide27.xml"/><Relationship Id="rId49" Type="http://schemas.openxmlformats.org/officeDocument/2006/relationships/slide" Target="slides/slide40.xml"/><Relationship Id="rId57" Type="http://schemas.openxmlformats.org/officeDocument/2006/relationships/font" Target="fonts/font1.fntdata"/><Relationship Id="rId61" Type="http://schemas.openxmlformats.org/officeDocument/2006/relationships/font" Target="fonts/font5.fntdata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slide" Target="slides/slide22.xml"/><Relationship Id="rId44" Type="http://schemas.openxmlformats.org/officeDocument/2006/relationships/slide" Target="slides/slide35.xml"/><Relationship Id="rId52" Type="http://schemas.openxmlformats.org/officeDocument/2006/relationships/slide" Target="slides/slide43.xml"/><Relationship Id="rId60" Type="http://schemas.openxmlformats.org/officeDocument/2006/relationships/font" Target="fonts/font4.fntdata"/><Relationship Id="rId65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slide" Target="slides/slide21.xml"/><Relationship Id="rId35" Type="http://schemas.openxmlformats.org/officeDocument/2006/relationships/slide" Target="slides/slide26.xml"/><Relationship Id="rId43" Type="http://schemas.openxmlformats.org/officeDocument/2006/relationships/slide" Target="slides/slide34.xml"/><Relationship Id="rId48" Type="http://schemas.openxmlformats.org/officeDocument/2006/relationships/slide" Target="slides/slide39.xml"/><Relationship Id="rId56" Type="http://schemas.openxmlformats.org/officeDocument/2006/relationships/notesMaster" Target="notesMasters/notesMaster1.xml"/><Relationship Id="rId64" Type="http://schemas.openxmlformats.org/officeDocument/2006/relationships/presProps" Target="presProps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42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slide" Target="slides/slide24.xml"/><Relationship Id="rId38" Type="http://schemas.openxmlformats.org/officeDocument/2006/relationships/slide" Target="slides/slide29.xml"/><Relationship Id="rId46" Type="http://schemas.openxmlformats.org/officeDocument/2006/relationships/slide" Target="slides/slide37.xml"/><Relationship Id="rId59" Type="http://schemas.openxmlformats.org/officeDocument/2006/relationships/font" Target="fonts/font3.fntdata"/><Relationship Id="rId67" Type="http://schemas.openxmlformats.org/officeDocument/2006/relationships/tableStyles" Target="tableStyles.xml"/><Relationship Id="rId20" Type="http://schemas.openxmlformats.org/officeDocument/2006/relationships/slide" Target="slides/slide11.xml"/><Relationship Id="rId41" Type="http://schemas.openxmlformats.org/officeDocument/2006/relationships/slide" Target="slides/slide32.xml"/><Relationship Id="rId54" Type="http://schemas.openxmlformats.org/officeDocument/2006/relationships/slide" Target="slides/slide45.xml"/><Relationship Id="rId62" Type="http://schemas.openxmlformats.org/officeDocument/2006/relationships/font" Target="fonts/font6.fntdata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7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8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9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0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aplikace_Microsoft_Excel21.xlsx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aplikace_Microsoft_Excel22.xlsx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3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4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5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6.xlsx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7.xlsx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8.xlsx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9.xlsx"/><Relationship Id="rId2" Type="http://schemas.microsoft.com/office/2011/relationships/chartColorStyle" Target="colors28.xml"/><Relationship Id="rId1" Type="http://schemas.microsoft.com/office/2011/relationships/chartStyle" Target="style28.xml"/></Relationships>
</file>

<file path=ppt/charts/_rels/chart3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0.xlsx"/><Relationship Id="rId2" Type="http://schemas.microsoft.com/office/2011/relationships/chartColorStyle" Target="colors29.xml"/><Relationship Id="rId1" Type="http://schemas.microsoft.com/office/2011/relationships/chartStyle" Target="style29.xml"/></Relationships>
</file>

<file path=ppt/charts/_rels/chart3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1.xlsx"/><Relationship Id="rId2" Type="http://schemas.microsoft.com/office/2011/relationships/chartColorStyle" Target="colors30.xml"/><Relationship Id="rId1" Type="http://schemas.microsoft.com/office/2011/relationships/chartStyle" Target="style30.xml"/></Relationships>
</file>

<file path=ppt/charts/_rels/chart3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2.xlsx"/><Relationship Id="rId2" Type="http://schemas.microsoft.com/office/2011/relationships/chartColorStyle" Target="colors31.xml"/><Relationship Id="rId1" Type="http://schemas.microsoft.com/office/2011/relationships/chartStyle" Target="style31.xml"/></Relationships>
</file>

<file path=ppt/charts/_rels/chart3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3.xlsx"/><Relationship Id="rId2" Type="http://schemas.microsoft.com/office/2011/relationships/chartColorStyle" Target="colors32.xml"/><Relationship Id="rId1" Type="http://schemas.microsoft.com/office/2011/relationships/chartStyle" Target="style32.xml"/></Relationships>
</file>

<file path=ppt/charts/_rels/chart3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4.xlsx"/><Relationship Id="rId2" Type="http://schemas.microsoft.com/office/2011/relationships/chartColorStyle" Target="colors33.xml"/><Relationship Id="rId1" Type="http://schemas.microsoft.com/office/2011/relationships/chartStyle" Target="style33.xml"/></Relationships>
</file>

<file path=ppt/charts/_rels/chart3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5.xlsx"/><Relationship Id="rId2" Type="http://schemas.microsoft.com/office/2011/relationships/chartColorStyle" Target="colors34.xml"/><Relationship Id="rId1" Type="http://schemas.microsoft.com/office/2011/relationships/chartStyle" Target="style34.xml"/></Relationships>
</file>

<file path=ppt/charts/_rels/chart3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6.xlsx"/><Relationship Id="rId2" Type="http://schemas.microsoft.com/office/2011/relationships/chartColorStyle" Target="colors35.xml"/><Relationship Id="rId1" Type="http://schemas.microsoft.com/office/2011/relationships/chartStyle" Target="style35.xml"/></Relationships>
</file>

<file path=ppt/charts/_rels/chart3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7.xlsx"/><Relationship Id="rId2" Type="http://schemas.microsoft.com/office/2011/relationships/chartColorStyle" Target="colors36.xml"/><Relationship Id="rId1" Type="http://schemas.microsoft.com/office/2011/relationships/chartStyle" Target="style36.xml"/></Relationships>
</file>

<file path=ppt/charts/_rels/chart3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8.xlsx"/><Relationship Id="rId2" Type="http://schemas.microsoft.com/office/2011/relationships/chartColorStyle" Target="colors37.xml"/><Relationship Id="rId1" Type="http://schemas.microsoft.com/office/2011/relationships/chartStyle" Target="style37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4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9.xlsx"/><Relationship Id="rId2" Type="http://schemas.microsoft.com/office/2011/relationships/chartColorStyle" Target="colors38.xml"/><Relationship Id="rId1" Type="http://schemas.microsoft.com/office/2011/relationships/chartStyle" Target="style38.xml"/></Relationships>
</file>

<file path=ppt/charts/_rels/chart4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40.xlsx"/><Relationship Id="rId2" Type="http://schemas.microsoft.com/office/2011/relationships/chartColorStyle" Target="colors39.xml"/><Relationship Id="rId1" Type="http://schemas.microsoft.com/office/2011/relationships/chartStyle" Target="style39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21613765697066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v>9667</c:v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28</c:f>
              <c:numCache>
                <c:formatCode>m/d/yyyy</c:formatCode>
                <c:ptCount val="227"/>
                <c:pt idx="0">
                  <c:v>44231</c:v>
                </c:pt>
                <c:pt idx="1">
                  <c:v>44232</c:v>
                </c:pt>
                <c:pt idx="2">
                  <c:v>44233</c:v>
                </c:pt>
                <c:pt idx="3">
                  <c:v>44234</c:v>
                </c:pt>
                <c:pt idx="4">
                  <c:v>44235</c:v>
                </c:pt>
                <c:pt idx="5">
                  <c:v>44236</c:v>
                </c:pt>
                <c:pt idx="6">
                  <c:v>44237</c:v>
                </c:pt>
                <c:pt idx="7">
                  <c:v>44238</c:v>
                </c:pt>
                <c:pt idx="8">
                  <c:v>44239</c:v>
                </c:pt>
                <c:pt idx="9">
                  <c:v>44240</c:v>
                </c:pt>
                <c:pt idx="10">
                  <c:v>44241</c:v>
                </c:pt>
                <c:pt idx="11">
                  <c:v>44242</c:v>
                </c:pt>
                <c:pt idx="12">
                  <c:v>44243</c:v>
                </c:pt>
                <c:pt idx="13">
                  <c:v>44244</c:v>
                </c:pt>
                <c:pt idx="14">
                  <c:v>44245</c:v>
                </c:pt>
                <c:pt idx="15">
                  <c:v>44246</c:v>
                </c:pt>
                <c:pt idx="16">
                  <c:v>44247</c:v>
                </c:pt>
                <c:pt idx="17">
                  <c:v>44248</c:v>
                </c:pt>
                <c:pt idx="18">
                  <c:v>44249</c:v>
                </c:pt>
                <c:pt idx="19">
                  <c:v>44250</c:v>
                </c:pt>
                <c:pt idx="20">
                  <c:v>44251</c:v>
                </c:pt>
                <c:pt idx="21">
                  <c:v>44252</c:v>
                </c:pt>
                <c:pt idx="22">
                  <c:v>44253</c:v>
                </c:pt>
                <c:pt idx="23">
                  <c:v>44254</c:v>
                </c:pt>
                <c:pt idx="24">
                  <c:v>44255</c:v>
                </c:pt>
                <c:pt idx="25">
                  <c:v>44256</c:v>
                </c:pt>
                <c:pt idx="26">
                  <c:v>44257</c:v>
                </c:pt>
                <c:pt idx="27">
                  <c:v>44258</c:v>
                </c:pt>
                <c:pt idx="28">
                  <c:v>44259</c:v>
                </c:pt>
                <c:pt idx="29">
                  <c:v>44260</c:v>
                </c:pt>
                <c:pt idx="30">
                  <c:v>44261</c:v>
                </c:pt>
                <c:pt idx="31">
                  <c:v>44262</c:v>
                </c:pt>
                <c:pt idx="32">
                  <c:v>44263</c:v>
                </c:pt>
                <c:pt idx="33">
                  <c:v>44264</c:v>
                </c:pt>
                <c:pt idx="34">
                  <c:v>44265</c:v>
                </c:pt>
                <c:pt idx="35">
                  <c:v>44266</c:v>
                </c:pt>
                <c:pt idx="36">
                  <c:v>44267</c:v>
                </c:pt>
                <c:pt idx="37">
                  <c:v>44268</c:v>
                </c:pt>
                <c:pt idx="38">
                  <c:v>44269</c:v>
                </c:pt>
                <c:pt idx="39">
                  <c:v>44270</c:v>
                </c:pt>
                <c:pt idx="40">
                  <c:v>44271</c:v>
                </c:pt>
                <c:pt idx="41">
                  <c:v>44272</c:v>
                </c:pt>
                <c:pt idx="42">
                  <c:v>44273</c:v>
                </c:pt>
                <c:pt idx="43">
                  <c:v>44274</c:v>
                </c:pt>
                <c:pt idx="44">
                  <c:v>44275</c:v>
                </c:pt>
                <c:pt idx="45">
                  <c:v>44276</c:v>
                </c:pt>
                <c:pt idx="46">
                  <c:v>44277</c:v>
                </c:pt>
                <c:pt idx="47">
                  <c:v>44278</c:v>
                </c:pt>
                <c:pt idx="48">
                  <c:v>44279</c:v>
                </c:pt>
                <c:pt idx="49">
                  <c:v>44280</c:v>
                </c:pt>
                <c:pt idx="50">
                  <c:v>44281</c:v>
                </c:pt>
                <c:pt idx="51">
                  <c:v>44282</c:v>
                </c:pt>
                <c:pt idx="52">
                  <c:v>44283</c:v>
                </c:pt>
                <c:pt idx="53">
                  <c:v>44284</c:v>
                </c:pt>
                <c:pt idx="54">
                  <c:v>44285</c:v>
                </c:pt>
                <c:pt idx="55">
                  <c:v>44286</c:v>
                </c:pt>
                <c:pt idx="56">
                  <c:v>44287</c:v>
                </c:pt>
                <c:pt idx="57">
                  <c:v>44288</c:v>
                </c:pt>
                <c:pt idx="58">
                  <c:v>44289</c:v>
                </c:pt>
                <c:pt idx="59">
                  <c:v>44290</c:v>
                </c:pt>
                <c:pt idx="60">
                  <c:v>44291</c:v>
                </c:pt>
                <c:pt idx="61">
                  <c:v>44292</c:v>
                </c:pt>
                <c:pt idx="62">
                  <c:v>44293</c:v>
                </c:pt>
                <c:pt idx="63">
                  <c:v>44294</c:v>
                </c:pt>
                <c:pt idx="64">
                  <c:v>44295</c:v>
                </c:pt>
                <c:pt idx="65">
                  <c:v>44296</c:v>
                </c:pt>
                <c:pt idx="66">
                  <c:v>44297</c:v>
                </c:pt>
                <c:pt idx="67">
                  <c:v>44298</c:v>
                </c:pt>
                <c:pt idx="68">
                  <c:v>44299</c:v>
                </c:pt>
                <c:pt idx="69">
                  <c:v>44300</c:v>
                </c:pt>
                <c:pt idx="70">
                  <c:v>44301</c:v>
                </c:pt>
                <c:pt idx="71">
                  <c:v>44302</c:v>
                </c:pt>
                <c:pt idx="72">
                  <c:v>44303</c:v>
                </c:pt>
                <c:pt idx="73">
                  <c:v>44304</c:v>
                </c:pt>
                <c:pt idx="74">
                  <c:v>44305</c:v>
                </c:pt>
                <c:pt idx="75">
                  <c:v>44306</c:v>
                </c:pt>
                <c:pt idx="76">
                  <c:v>44307</c:v>
                </c:pt>
                <c:pt idx="77">
                  <c:v>44308</c:v>
                </c:pt>
                <c:pt idx="78">
                  <c:v>44309</c:v>
                </c:pt>
                <c:pt idx="79">
                  <c:v>44310</c:v>
                </c:pt>
                <c:pt idx="80">
                  <c:v>44311</c:v>
                </c:pt>
                <c:pt idx="81">
                  <c:v>44312</c:v>
                </c:pt>
                <c:pt idx="82">
                  <c:v>44313</c:v>
                </c:pt>
                <c:pt idx="83">
                  <c:v>44314</c:v>
                </c:pt>
                <c:pt idx="84">
                  <c:v>44315</c:v>
                </c:pt>
                <c:pt idx="85">
                  <c:v>44316</c:v>
                </c:pt>
                <c:pt idx="86">
                  <c:v>44317</c:v>
                </c:pt>
                <c:pt idx="87">
                  <c:v>44318</c:v>
                </c:pt>
                <c:pt idx="88">
                  <c:v>44319</c:v>
                </c:pt>
                <c:pt idx="89">
                  <c:v>44320</c:v>
                </c:pt>
                <c:pt idx="90">
                  <c:v>44321</c:v>
                </c:pt>
                <c:pt idx="91">
                  <c:v>44322</c:v>
                </c:pt>
                <c:pt idx="92">
                  <c:v>44323</c:v>
                </c:pt>
                <c:pt idx="93">
                  <c:v>44324</c:v>
                </c:pt>
                <c:pt idx="94">
                  <c:v>44325</c:v>
                </c:pt>
                <c:pt idx="95">
                  <c:v>44326</c:v>
                </c:pt>
                <c:pt idx="96">
                  <c:v>44327</c:v>
                </c:pt>
                <c:pt idx="97">
                  <c:v>44328</c:v>
                </c:pt>
                <c:pt idx="98">
                  <c:v>44329</c:v>
                </c:pt>
                <c:pt idx="99">
                  <c:v>44330</c:v>
                </c:pt>
                <c:pt idx="100">
                  <c:v>44331</c:v>
                </c:pt>
                <c:pt idx="101">
                  <c:v>44332</c:v>
                </c:pt>
                <c:pt idx="102">
                  <c:v>44333</c:v>
                </c:pt>
                <c:pt idx="103">
                  <c:v>44334</c:v>
                </c:pt>
                <c:pt idx="104">
                  <c:v>44335</c:v>
                </c:pt>
                <c:pt idx="105">
                  <c:v>44336</c:v>
                </c:pt>
                <c:pt idx="106">
                  <c:v>44337</c:v>
                </c:pt>
                <c:pt idx="107">
                  <c:v>44338</c:v>
                </c:pt>
                <c:pt idx="108">
                  <c:v>44339</c:v>
                </c:pt>
                <c:pt idx="109">
                  <c:v>44340</c:v>
                </c:pt>
                <c:pt idx="110">
                  <c:v>44341</c:v>
                </c:pt>
                <c:pt idx="111">
                  <c:v>44342</c:v>
                </c:pt>
                <c:pt idx="112">
                  <c:v>44343</c:v>
                </c:pt>
                <c:pt idx="113">
                  <c:v>44344</c:v>
                </c:pt>
                <c:pt idx="114">
                  <c:v>44345</c:v>
                </c:pt>
                <c:pt idx="115">
                  <c:v>44346</c:v>
                </c:pt>
              </c:numCache>
            </c:numRef>
          </c:cat>
          <c:val>
            <c:numRef>
              <c:f>Sheet1!$B$2:$B$228</c:f>
              <c:numCache>
                <c:formatCode>General</c:formatCode>
                <c:ptCount val="227"/>
                <c:pt idx="0">
                  <c:v>8108</c:v>
                </c:pt>
                <c:pt idx="1">
                  <c:v>8623</c:v>
                </c:pt>
                <c:pt idx="2">
                  <c:v>4820</c:v>
                </c:pt>
                <c:pt idx="3">
                  <c:v>2451</c:v>
                </c:pt>
                <c:pt idx="4">
                  <c:v>7777</c:v>
                </c:pt>
                <c:pt idx="5">
                  <c:v>10282</c:v>
                </c:pt>
                <c:pt idx="6">
                  <c:v>9539</c:v>
                </c:pt>
                <c:pt idx="7">
                  <c:v>9018</c:v>
                </c:pt>
                <c:pt idx="8">
                  <c:v>8830</c:v>
                </c:pt>
                <c:pt idx="9">
                  <c:v>5141</c:v>
                </c:pt>
                <c:pt idx="10">
                  <c:v>2880</c:v>
                </c:pt>
                <c:pt idx="11">
                  <c:v>8905</c:v>
                </c:pt>
                <c:pt idx="12">
                  <c:v>12608</c:v>
                </c:pt>
                <c:pt idx="13">
                  <c:v>10939</c:v>
                </c:pt>
                <c:pt idx="14">
                  <c:v>11704</c:v>
                </c:pt>
                <c:pt idx="15">
                  <c:v>11288</c:v>
                </c:pt>
                <c:pt idx="16">
                  <c:v>6775</c:v>
                </c:pt>
                <c:pt idx="17">
                  <c:v>4068</c:v>
                </c:pt>
                <c:pt idx="18">
                  <c:v>11410</c:v>
                </c:pt>
                <c:pt idx="19">
                  <c:v>15840</c:v>
                </c:pt>
                <c:pt idx="20">
                  <c:v>13796</c:v>
                </c:pt>
                <c:pt idx="21">
                  <c:v>14588</c:v>
                </c:pt>
                <c:pt idx="22">
                  <c:v>14775</c:v>
                </c:pt>
                <c:pt idx="23">
                  <c:v>7824</c:v>
                </c:pt>
                <c:pt idx="24">
                  <c:v>4587</c:v>
                </c:pt>
                <c:pt idx="25">
                  <c:v>12325</c:v>
                </c:pt>
                <c:pt idx="26">
                  <c:v>16779</c:v>
                </c:pt>
                <c:pt idx="27">
                  <c:v>15238</c:v>
                </c:pt>
                <c:pt idx="28">
                  <c:v>14649</c:v>
                </c:pt>
                <c:pt idx="29">
                  <c:v>13169</c:v>
                </c:pt>
                <c:pt idx="30">
                  <c:v>9130</c:v>
                </c:pt>
                <c:pt idx="31">
                  <c:v>3983</c:v>
                </c:pt>
                <c:pt idx="32">
                  <c:v>10653</c:v>
                </c:pt>
                <c:pt idx="33">
                  <c:v>15361</c:v>
                </c:pt>
                <c:pt idx="34">
                  <c:v>14537</c:v>
                </c:pt>
                <c:pt idx="35">
                  <c:v>11245</c:v>
                </c:pt>
                <c:pt idx="36">
                  <c:v>14960</c:v>
                </c:pt>
                <c:pt idx="37">
                  <c:v>6956</c:v>
                </c:pt>
                <c:pt idx="38">
                  <c:v>3333</c:v>
                </c:pt>
                <c:pt idx="39">
                  <c:v>10630</c:v>
                </c:pt>
                <c:pt idx="40">
                  <c:v>14028</c:v>
                </c:pt>
                <c:pt idx="41">
                  <c:v>12028</c:v>
                </c:pt>
                <c:pt idx="42">
                  <c:v>10661</c:v>
                </c:pt>
                <c:pt idx="43">
                  <c:v>9709</c:v>
                </c:pt>
                <c:pt idx="44">
                  <c:v>5466</c:v>
                </c:pt>
                <c:pt idx="45">
                  <c:v>2391</c:v>
                </c:pt>
                <c:pt idx="46">
                  <c:v>8239</c:v>
                </c:pt>
                <c:pt idx="47">
                  <c:v>10968</c:v>
                </c:pt>
                <c:pt idx="48">
                  <c:v>8848</c:v>
                </c:pt>
                <c:pt idx="49">
                  <c:v>7926</c:v>
                </c:pt>
                <c:pt idx="50">
                  <c:v>7712</c:v>
                </c:pt>
                <c:pt idx="51">
                  <c:v>3969</c:v>
                </c:pt>
                <c:pt idx="52">
                  <c:v>1744</c:v>
                </c:pt>
                <c:pt idx="53">
                  <c:v>6935</c:v>
                </c:pt>
                <c:pt idx="54">
                  <c:v>8630</c:v>
                </c:pt>
                <c:pt idx="55">
                  <c:v>7263</c:v>
                </c:pt>
                <c:pt idx="56">
                  <c:v>6245</c:v>
                </c:pt>
                <c:pt idx="57">
                  <c:v>3837</c:v>
                </c:pt>
                <c:pt idx="58">
                  <c:v>2160</c:v>
                </c:pt>
                <c:pt idx="59">
                  <c:v>1925</c:v>
                </c:pt>
                <c:pt idx="60">
                  <c:v>1419</c:v>
                </c:pt>
                <c:pt idx="61">
                  <c:v>5583</c:v>
                </c:pt>
                <c:pt idx="62">
                  <c:v>7052</c:v>
                </c:pt>
                <c:pt idx="63">
                  <c:v>5281</c:v>
                </c:pt>
                <c:pt idx="64">
                  <c:v>4819</c:v>
                </c:pt>
                <c:pt idx="65">
                  <c:v>2204</c:v>
                </c:pt>
                <c:pt idx="66">
                  <c:v>985</c:v>
                </c:pt>
                <c:pt idx="67">
                  <c:v>3868</c:v>
                </c:pt>
                <c:pt idx="68">
                  <c:v>5056</c:v>
                </c:pt>
                <c:pt idx="69">
                  <c:v>3715</c:v>
                </c:pt>
                <c:pt idx="70">
                  <c:v>3263</c:v>
                </c:pt>
                <c:pt idx="71">
                  <c:v>3217</c:v>
                </c:pt>
                <c:pt idx="72">
                  <c:v>1541</c:v>
                </c:pt>
                <c:pt idx="73">
                  <c:v>833</c:v>
                </c:pt>
                <c:pt idx="74">
                  <c:v>3341</c:v>
                </c:pt>
                <c:pt idx="75">
                  <c:v>3815</c:v>
                </c:pt>
                <c:pt idx="76">
                  <c:v>2951</c:v>
                </c:pt>
                <c:pt idx="77">
                  <c:v>2628</c:v>
                </c:pt>
                <c:pt idx="78">
                  <c:v>2601</c:v>
                </c:pt>
                <c:pt idx="79">
                  <c:v>1307</c:v>
                </c:pt>
                <c:pt idx="80">
                  <c:v>825</c:v>
                </c:pt>
                <c:pt idx="81">
                  <c:v>2579</c:v>
                </c:pt>
                <c:pt idx="82">
                  <c:v>3238</c:v>
                </c:pt>
                <c:pt idx="83">
                  <c:v>2488</c:v>
                </c:pt>
                <c:pt idx="84">
                  <c:v>2228</c:v>
                </c:pt>
                <c:pt idx="85">
                  <c:v>2166</c:v>
                </c:pt>
                <c:pt idx="86">
                  <c:v>1171</c:v>
                </c:pt>
                <c:pt idx="87">
                  <c:v>508</c:v>
                </c:pt>
                <c:pt idx="88">
                  <c:v>2217</c:v>
                </c:pt>
                <c:pt idx="89">
                  <c:v>2416</c:v>
                </c:pt>
                <c:pt idx="90">
                  <c:v>1873</c:v>
                </c:pt>
                <c:pt idx="91">
                  <c:v>1572</c:v>
                </c:pt>
                <c:pt idx="92">
                  <c:v>1638</c:v>
                </c:pt>
                <c:pt idx="93">
                  <c:v>725</c:v>
                </c:pt>
                <c:pt idx="94">
                  <c:v>383</c:v>
                </c:pt>
                <c:pt idx="95">
                  <c:v>1544</c:v>
                </c:pt>
                <c:pt idx="96">
                  <c:v>1690</c:v>
                </c:pt>
                <c:pt idx="97">
                  <c:v>1264</c:v>
                </c:pt>
                <c:pt idx="98">
                  <c:v>1223</c:v>
                </c:pt>
                <c:pt idx="99">
                  <c:v>1051</c:v>
                </c:pt>
                <c:pt idx="100">
                  <c:v>597</c:v>
                </c:pt>
                <c:pt idx="101">
                  <c:v>256</c:v>
                </c:pt>
                <c:pt idx="102">
                  <c:v>1129</c:v>
                </c:pt>
                <c:pt idx="103">
                  <c:v>1198</c:v>
                </c:pt>
                <c:pt idx="104">
                  <c:v>778</c:v>
                </c:pt>
                <c:pt idx="105">
                  <c:v>679</c:v>
                </c:pt>
                <c:pt idx="106">
                  <c:v>671</c:v>
                </c:pt>
                <c:pt idx="107">
                  <c:v>333</c:v>
                </c:pt>
                <c:pt idx="108">
                  <c:v>196</c:v>
                </c:pt>
                <c:pt idx="109">
                  <c:v>697</c:v>
                </c:pt>
                <c:pt idx="110">
                  <c:v>658</c:v>
                </c:pt>
                <c:pt idx="111">
                  <c:v>539</c:v>
                </c:pt>
                <c:pt idx="112">
                  <c:v>506</c:v>
                </c:pt>
                <c:pt idx="113">
                  <c:v>456</c:v>
                </c:pt>
                <c:pt idx="114">
                  <c:v>222</c:v>
                </c:pt>
                <c:pt idx="115">
                  <c:v>1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F7F-4BCE-A7C8-6C97C60523F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ax val="28000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ymptomatičtí pozitivní na 100 000 obyvatel za 7 dní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Pt>
            <c:idx val="8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58E-4319-A6B1-3BB003D05972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Olomoucký kraj</c:v>
                </c:pt>
                <c:pt idx="2">
                  <c:v>Moravskoslezský kraj</c:v>
                </c:pt>
                <c:pt idx="3">
                  <c:v>Jihočeský kraj</c:v>
                </c:pt>
                <c:pt idx="4">
                  <c:v>Ústecký kraj</c:v>
                </c:pt>
                <c:pt idx="5">
                  <c:v>Liberecký kraj</c:v>
                </c:pt>
                <c:pt idx="6">
                  <c:v>Jihomoravský kraj</c:v>
                </c:pt>
                <c:pt idx="7">
                  <c:v>ČR</c:v>
                </c:pt>
                <c:pt idx="8">
                  <c:v>Plzeňský kraj</c:v>
                </c:pt>
                <c:pt idx="9">
                  <c:v>Hlavní město Praha</c:v>
                </c:pt>
                <c:pt idx="10">
                  <c:v>Kraj Vysočina</c:v>
                </c:pt>
                <c:pt idx="11">
                  <c:v>Středočeský kraj</c:v>
                </c:pt>
                <c:pt idx="12">
                  <c:v>Pardubický kraj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B$2:$B$16</c:f>
              <c:numCache>
                <c:formatCode>[$-10405]#\ ##0.0;\(#\ ##0.0\)</c:formatCode>
                <c:ptCount val="15"/>
                <c:pt idx="0">
                  <c:v>29.304332386974998</c:v>
                </c:pt>
                <c:pt idx="1">
                  <c:v>24.582805992495</c:v>
                </c:pt>
                <c:pt idx="2">
                  <c:v>20.706988566724</c:v>
                </c:pt>
                <c:pt idx="3">
                  <c:v>20.666582757232</c:v>
                </c:pt>
                <c:pt idx="4">
                  <c:v>18.726958497142999</c:v>
                </c:pt>
                <c:pt idx="5">
                  <c:v>18.306077617768999</c:v>
                </c:pt>
                <c:pt idx="6">
                  <c:v>17.233777869988</c:v>
                </c:pt>
                <c:pt idx="7">
                  <c:v>15.595540815324</c:v>
                </c:pt>
                <c:pt idx="8">
                  <c:v>13.197054011481001</c:v>
                </c:pt>
                <c:pt idx="9">
                  <c:v>11.909363006372001</c:v>
                </c:pt>
                <c:pt idx="10">
                  <c:v>10.808643770683</c:v>
                </c:pt>
                <c:pt idx="11">
                  <c:v>10.586574935425</c:v>
                </c:pt>
                <c:pt idx="12">
                  <c:v>8.9890906865370006</c:v>
                </c:pt>
                <c:pt idx="13">
                  <c:v>5.0834871995970001</c:v>
                </c:pt>
                <c:pt idx="14">
                  <c:v>2.386545339247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58E-4319-A6B1-3BB003D059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9.5.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5944-47A1-8932-0F6118E2CB1A}"/>
              </c:ext>
            </c:extLst>
          </c:dPt>
          <c:dPt>
            <c:idx val="1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944-47A1-8932-0F6118E2CB1A}"/>
              </c:ext>
            </c:extLst>
          </c:dPt>
          <c:dPt>
            <c:idx val="2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5944-47A1-8932-0F6118E2CB1A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1</c:f>
              <c:strCache>
                <c:ptCount val="20"/>
                <c:pt idx="0">
                  <c:v>Šumperk</c:v>
                </c:pt>
                <c:pt idx="1">
                  <c:v>Český Krumlov</c:v>
                </c:pt>
                <c:pt idx="2">
                  <c:v>Rokycany</c:v>
                </c:pt>
                <c:pt idx="3">
                  <c:v>České Budějovice</c:v>
                </c:pt>
                <c:pt idx="4">
                  <c:v>Uherské Hradiště</c:v>
                </c:pt>
                <c:pt idx="5">
                  <c:v>Opava</c:v>
                </c:pt>
                <c:pt idx="6">
                  <c:v>Zlín</c:v>
                </c:pt>
                <c:pt idx="7">
                  <c:v>Kroměříž</c:v>
                </c:pt>
                <c:pt idx="8">
                  <c:v>Děčín</c:v>
                </c:pt>
                <c:pt idx="9">
                  <c:v>Česká Lípa</c:v>
                </c:pt>
                <c:pt idx="10">
                  <c:v>Ostrava-město</c:v>
                </c:pt>
                <c:pt idx="11">
                  <c:v>Přerov</c:v>
                </c:pt>
                <c:pt idx="12">
                  <c:v>Prostějov</c:v>
                </c:pt>
                <c:pt idx="13">
                  <c:v>Frýdek-Místek</c:v>
                </c:pt>
                <c:pt idx="14">
                  <c:v>Havlíčkův Brod</c:v>
                </c:pt>
                <c:pt idx="15">
                  <c:v>Chomutov</c:v>
                </c:pt>
                <c:pt idx="16">
                  <c:v>Liberec</c:v>
                </c:pt>
                <c:pt idx="17">
                  <c:v>Vsetín</c:v>
                </c:pt>
                <c:pt idx="18">
                  <c:v>Praha-západ</c:v>
                </c:pt>
                <c:pt idx="19">
                  <c:v>Karviná</c:v>
                </c:pt>
              </c:strCache>
            </c:strRef>
          </c:cat>
          <c:val>
            <c:numRef>
              <c:f>Sheet1!$B$2:$B$21</c:f>
              <c:numCache>
                <c:formatCode>General</c:formatCode>
                <c:ptCount val="20"/>
                <c:pt idx="0">
                  <c:v>90.024756808122007</c:v>
                </c:pt>
                <c:pt idx="1">
                  <c:v>86.431833007175001</c:v>
                </c:pt>
                <c:pt idx="2">
                  <c:v>74.764088989472</c:v>
                </c:pt>
                <c:pt idx="3">
                  <c:v>69.683929970193006</c:v>
                </c:pt>
                <c:pt idx="4">
                  <c:v>52.954882440159999</c:v>
                </c:pt>
                <c:pt idx="5">
                  <c:v>52.907945863224001</c:v>
                </c:pt>
                <c:pt idx="6">
                  <c:v>51.625149269685998</c:v>
                </c:pt>
                <c:pt idx="7">
                  <c:v>50.559975578577003</c:v>
                </c:pt>
                <c:pt idx="8">
                  <c:v>49.825222461833</c:v>
                </c:pt>
                <c:pt idx="9">
                  <c:v>49.515524573291998</c:v>
                </c:pt>
                <c:pt idx="10">
                  <c:v>46.640321187940998</c:v>
                </c:pt>
                <c:pt idx="11">
                  <c:v>45.771561120549002</c:v>
                </c:pt>
                <c:pt idx="12">
                  <c:v>45.159625451596</c:v>
                </c:pt>
                <c:pt idx="13">
                  <c:v>44.737099637908997</c:v>
                </c:pt>
                <c:pt idx="14">
                  <c:v>44.391831902928999</c:v>
                </c:pt>
                <c:pt idx="15">
                  <c:v>41.733547351524003</c:v>
                </c:pt>
                <c:pt idx="16">
                  <c:v>39.893995953607998</c:v>
                </c:pt>
                <c:pt idx="17">
                  <c:v>39.465524045780001</c:v>
                </c:pt>
                <c:pt idx="18">
                  <c:v>39.399809567586999</c:v>
                </c:pt>
                <c:pt idx="19">
                  <c:v>37.894546068646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2B-4171-AE9D-D1549822F9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30.3.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21</c:f>
              <c:strCache>
                <c:ptCount val="20"/>
                <c:pt idx="0">
                  <c:v>Šumperk</c:v>
                </c:pt>
                <c:pt idx="1">
                  <c:v>Český Krumlov</c:v>
                </c:pt>
                <c:pt idx="2">
                  <c:v>Rokycany</c:v>
                </c:pt>
                <c:pt idx="3">
                  <c:v>České Budějovice</c:v>
                </c:pt>
                <c:pt idx="4">
                  <c:v>Uherské Hradiště</c:v>
                </c:pt>
                <c:pt idx="5">
                  <c:v>Opava</c:v>
                </c:pt>
                <c:pt idx="6">
                  <c:v>Zlín</c:v>
                </c:pt>
                <c:pt idx="7">
                  <c:v>Kroměříž</c:v>
                </c:pt>
                <c:pt idx="8">
                  <c:v>Děčín</c:v>
                </c:pt>
                <c:pt idx="9">
                  <c:v>Česká Lípa</c:v>
                </c:pt>
                <c:pt idx="10">
                  <c:v>Ostrava-město</c:v>
                </c:pt>
                <c:pt idx="11">
                  <c:v>Přerov</c:v>
                </c:pt>
                <c:pt idx="12">
                  <c:v>Prostějov</c:v>
                </c:pt>
                <c:pt idx="13">
                  <c:v>Frýdek-Místek</c:v>
                </c:pt>
                <c:pt idx="14">
                  <c:v>Havlíčkův Brod</c:v>
                </c:pt>
                <c:pt idx="15">
                  <c:v>Chomutov</c:v>
                </c:pt>
                <c:pt idx="16">
                  <c:v>Liberec</c:v>
                </c:pt>
                <c:pt idx="17">
                  <c:v>Vsetín</c:v>
                </c:pt>
                <c:pt idx="18">
                  <c:v>Praha-západ</c:v>
                </c:pt>
                <c:pt idx="19">
                  <c:v>Karviná</c:v>
                </c:pt>
              </c:strCache>
            </c:strRef>
          </c:cat>
          <c:val>
            <c:numRef>
              <c:f>Sheet1!$B$2:$B$21</c:f>
              <c:numCache>
                <c:formatCode>General</c:formatCode>
                <c:ptCount val="20"/>
                <c:pt idx="0">
                  <c:v>400.11003025832099</c:v>
                </c:pt>
                <c:pt idx="1">
                  <c:v>559.36073059360695</c:v>
                </c:pt>
                <c:pt idx="2">
                  <c:v>353.613934409666</c:v>
                </c:pt>
                <c:pt idx="3">
                  <c:v>594.60229295734496</c:v>
                </c:pt>
                <c:pt idx="4">
                  <c:v>367.85991668431802</c:v>
                </c:pt>
                <c:pt idx="5">
                  <c:v>365.80439989304602</c:v>
                </c:pt>
                <c:pt idx="6">
                  <c:v>487.04938805946801</c:v>
                </c:pt>
                <c:pt idx="7">
                  <c:v>304.31381527483597</c:v>
                </c:pt>
                <c:pt idx="8">
                  <c:v>678.09013694150894</c:v>
                </c:pt>
                <c:pt idx="9">
                  <c:v>700.01359249694099</c:v>
                </c:pt>
                <c:pt idx="10">
                  <c:v>354.21433118409601</c:v>
                </c:pt>
                <c:pt idx="11">
                  <c:v>423.58088765796998</c:v>
                </c:pt>
                <c:pt idx="12">
                  <c:v>350.21750350217502</c:v>
                </c:pt>
                <c:pt idx="13">
                  <c:v>440.38082456066701</c:v>
                </c:pt>
                <c:pt idx="14">
                  <c:v>433.34883524288603</c:v>
                </c:pt>
                <c:pt idx="15">
                  <c:v>515.24879614767201</c:v>
                </c:pt>
                <c:pt idx="16">
                  <c:v>470.17923802467698</c:v>
                </c:pt>
                <c:pt idx="17">
                  <c:v>432.711281501945</c:v>
                </c:pt>
                <c:pt idx="18">
                  <c:v>343.43500673080001</c:v>
                </c:pt>
                <c:pt idx="19">
                  <c:v>409.425856437335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A52-401F-B1E0-512B723D069B}"/>
            </c:ext>
          </c:extLst>
        </c:ser>
        <c:ser>
          <c:idx val="2"/>
          <c:order val="1"/>
          <c:tx>
            <c:strRef>
              <c:f>Sheet1!$C$1</c:f>
              <c:strCache>
                <c:ptCount val="1"/>
                <c:pt idx="0">
                  <c:v>13.4.</c:v>
                </c:pt>
              </c:strCache>
            </c:strRef>
          </c:tx>
          <c:spPr>
            <a:solidFill>
              <a:srgbClr val="4010B7"/>
            </a:solidFill>
            <a:ln>
              <a:noFill/>
            </a:ln>
            <a:effectLst/>
          </c:spPr>
          <c:invertIfNegative val="0"/>
          <c:cat>
            <c:strRef>
              <c:f>Sheet1!$A$2:$A$21</c:f>
              <c:strCache>
                <c:ptCount val="20"/>
                <c:pt idx="0">
                  <c:v>Šumperk</c:v>
                </c:pt>
                <c:pt idx="1">
                  <c:v>Český Krumlov</c:v>
                </c:pt>
                <c:pt idx="2">
                  <c:v>Rokycany</c:v>
                </c:pt>
                <c:pt idx="3">
                  <c:v>České Budějovice</c:v>
                </c:pt>
                <c:pt idx="4">
                  <c:v>Uherské Hradiště</c:v>
                </c:pt>
                <c:pt idx="5">
                  <c:v>Opava</c:v>
                </c:pt>
                <c:pt idx="6">
                  <c:v>Zlín</c:v>
                </c:pt>
                <c:pt idx="7">
                  <c:v>Kroměříž</c:v>
                </c:pt>
                <c:pt idx="8">
                  <c:v>Děčín</c:v>
                </c:pt>
                <c:pt idx="9">
                  <c:v>Česká Lípa</c:v>
                </c:pt>
                <c:pt idx="10">
                  <c:v>Ostrava-město</c:v>
                </c:pt>
                <c:pt idx="11">
                  <c:v>Přerov</c:v>
                </c:pt>
                <c:pt idx="12">
                  <c:v>Prostějov</c:v>
                </c:pt>
                <c:pt idx="13">
                  <c:v>Frýdek-Místek</c:v>
                </c:pt>
                <c:pt idx="14">
                  <c:v>Havlíčkův Brod</c:v>
                </c:pt>
                <c:pt idx="15">
                  <c:v>Chomutov</c:v>
                </c:pt>
                <c:pt idx="16">
                  <c:v>Liberec</c:v>
                </c:pt>
                <c:pt idx="17">
                  <c:v>Vsetín</c:v>
                </c:pt>
                <c:pt idx="18">
                  <c:v>Praha-západ</c:v>
                </c:pt>
                <c:pt idx="19">
                  <c:v>Karviná</c:v>
                </c:pt>
              </c:strCache>
            </c:strRef>
          </c:cat>
          <c:val>
            <c:numRef>
              <c:f>Sheet1!$C$2:$C$21</c:f>
              <c:numCache>
                <c:formatCode>General</c:formatCode>
                <c:ptCount val="20"/>
                <c:pt idx="0">
                  <c:v>376.77027849325202</c:v>
                </c:pt>
                <c:pt idx="1">
                  <c:v>415.85127201565501</c:v>
                </c:pt>
                <c:pt idx="2">
                  <c:v>145.486875871405</c:v>
                </c:pt>
                <c:pt idx="3">
                  <c:v>437.94061098055897</c:v>
                </c:pt>
                <c:pt idx="4">
                  <c:v>302.19586245851798</c:v>
                </c:pt>
                <c:pt idx="5">
                  <c:v>248.61045529278499</c:v>
                </c:pt>
                <c:pt idx="6">
                  <c:v>410.393863386296</c:v>
                </c:pt>
                <c:pt idx="7">
                  <c:v>330.07078396580999</c:v>
                </c:pt>
                <c:pt idx="8">
                  <c:v>435.19217744007301</c:v>
                </c:pt>
                <c:pt idx="9">
                  <c:v>437.87258005009801</c:v>
                </c:pt>
                <c:pt idx="10">
                  <c:v>312.61620688133797</c:v>
                </c:pt>
                <c:pt idx="11">
                  <c:v>315.74619281463998</c:v>
                </c:pt>
                <c:pt idx="12">
                  <c:v>354.82562854825602</c:v>
                </c:pt>
                <c:pt idx="13">
                  <c:v>338.79032746624898</c:v>
                </c:pt>
                <c:pt idx="14">
                  <c:v>232.52864330106101</c:v>
                </c:pt>
                <c:pt idx="15">
                  <c:v>274.47833065810499</c:v>
                </c:pt>
                <c:pt idx="16">
                  <c:v>255.32157410309699</c:v>
                </c:pt>
                <c:pt idx="17">
                  <c:v>389.72204995207699</c:v>
                </c:pt>
                <c:pt idx="18">
                  <c:v>191.08907640279699</c:v>
                </c:pt>
                <c:pt idx="19">
                  <c:v>287.504273433862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A52-401F-B1E0-512B723D069B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8.5.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cat>
            <c:strRef>
              <c:f>Sheet1!$A$2:$A$21</c:f>
              <c:strCache>
                <c:ptCount val="20"/>
                <c:pt idx="0">
                  <c:v>Šumperk</c:v>
                </c:pt>
                <c:pt idx="1">
                  <c:v>Český Krumlov</c:v>
                </c:pt>
                <c:pt idx="2">
                  <c:v>Rokycany</c:v>
                </c:pt>
                <c:pt idx="3">
                  <c:v>České Budějovice</c:v>
                </c:pt>
                <c:pt idx="4">
                  <c:v>Uherské Hradiště</c:v>
                </c:pt>
                <c:pt idx="5">
                  <c:v>Opava</c:v>
                </c:pt>
                <c:pt idx="6">
                  <c:v>Zlín</c:v>
                </c:pt>
                <c:pt idx="7">
                  <c:v>Kroměříž</c:v>
                </c:pt>
                <c:pt idx="8">
                  <c:v>Děčín</c:v>
                </c:pt>
                <c:pt idx="9">
                  <c:v>Česká Lípa</c:v>
                </c:pt>
                <c:pt idx="10">
                  <c:v>Ostrava-město</c:v>
                </c:pt>
                <c:pt idx="11">
                  <c:v>Přerov</c:v>
                </c:pt>
                <c:pt idx="12">
                  <c:v>Prostějov</c:v>
                </c:pt>
                <c:pt idx="13">
                  <c:v>Frýdek-Místek</c:v>
                </c:pt>
                <c:pt idx="14">
                  <c:v>Havlíčkův Brod</c:v>
                </c:pt>
                <c:pt idx="15">
                  <c:v>Chomutov</c:v>
                </c:pt>
                <c:pt idx="16">
                  <c:v>Liberec</c:v>
                </c:pt>
                <c:pt idx="17">
                  <c:v>Vsetín</c:v>
                </c:pt>
                <c:pt idx="18">
                  <c:v>Praha-západ</c:v>
                </c:pt>
                <c:pt idx="19">
                  <c:v>Karviná</c:v>
                </c:pt>
              </c:strCache>
            </c:strRef>
          </c:cat>
          <c:val>
            <c:numRef>
              <c:f>Sheet1!$D$2:$D$21</c:f>
              <c:numCache>
                <c:formatCode>General</c:formatCode>
                <c:ptCount val="20"/>
                <c:pt idx="0">
                  <c:v>110.86382088407601</c:v>
                </c:pt>
                <c:pt idx="1">
                  <c:v>159.81735159817299</c:v>
                </c:pt>
                <c:pt idx="2">
                  <c:v>78.805391097010997</c:v>
                </c:pt>
                <c:pt idx="3">
                  <c:v>179.550564083783</c:v>
                </c:pt>
                <c:pt idx="4">
                  <c:v>114.382546070747</c:v>
                </c:pt>
                <c:pt idx="5">
                  <c:v>161.56835080812601</c:v>
                </c:pt>
                <c:pt idx="6">
                  <c:v>170.519432436237</c:v>
                </c:pt>
                <c:pt idx="7">
                  <c:v>115.429378207696</c:v>
                </c:pt>
                <c:pt idx="8">
                  <c:v>145.583071880668</c:v>
                </c:pt>
                <c:pt idx="9">
                  <c:v>124.274257752577</c:v>
                </c:pt>
                <c:pt idx="10">
                  <c:v>153.47186769275299</c:v>
                </c:pt>
                <c:pt idx="11">
                  <c:v>79.130495496543006</c:v>
                </c:pt>
                <c:pt idx="12">
                  <c:v>85.711125857111</c:v>
                </c:pt>
                <c:pt idx="13">
                  <c:v>129.551184368111</c:v>
                </c:pt>
                <c:pt idx="14">
                  <c:v>118.378218407812</c:v>
                </c:pt>
                <c:pt idx="15">
                  <c:v>101.92616372391601</c:v>
                </c:pt>
                <c:pt idx="16">
                  <c:v>98.595161428205003</c:v>
                </c:pt>
                <c:pt idx="17">
                  <c:v>176.89011670519201</c:v>
                </c:pt>
                <c:pt idx="18">
                  <c:v>78.142955642380997</c:v>
                </c:pt>
                <c:pt idx="19">
                  <c:v>136.337986399153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A52-401F-B1E0-512B723D069B}"/>
            </c:ext>
          </c:extLst>
        </c:ser>
        <c:ser>
          <c:idx val="1"/>
          <c:order val="3"/>
          <c:tx>
            <c:strRef>
              <c:f>Sheet1!$E$1</c:f>
              <c:strCache>
                <c:ptCount val="1"/>
                <c:pt idx="0">
                  <c:v>29.5.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cat>
            <c:strRef>
              <c:f>Sheet1!$A$2:$A$21</c:f>
              <c:strCache>
                <c:ptCount val="20"/>
                <c:pt idx="0">
                  <c:v>Šumperk</c:v>
                </c:pt>
                <c:pt idx="1">
                  <c:v>Český Krumlov</c:v>
                </c:pt>
                <c:pt idx="2">
                  <c:v>Rokycany</c:v>
                </c:pt>
                <c:pt idx="3">
                  <c:v>České Budějovice</c:v>
                </c:pt>
                <c:pt idx="4">
                  <c:v>Uherské Hradiště</c:v>
                </c:pt>
                <c:pt idx="5">
                  <c:v>Opava</c:v>
                </c:pt>
                <c:pt idx="6">
                  <c:v>Zlín</c:v>
                </c:pt>
                <c:pt idx="7">
                  <c:v>Kroměříž</c:v>
                </c:pt>
                <c:pt idx="8">
                  <c:v>Děčín</c:v>
                </c:pt>
                <c:pt idx="9">
                  <c:v>Česká Lípa</c:v>
                </c:pt>
                <c:pt idx="10">
                  <c:v>Ostrava-město</c:v>
                </c:pt>
                <c:pt idx="11">
                  <c:v>Přerov</c:v>
                </c:pt>
                <c:pt idx="12">
                  <c:v>Prostějov</c:v>
                </c:pt>
                <c:pt idx="13">
                  <c:v>Frýdek-Místek</c:v>
                </c:pt>
                <c:pt idx="14">
                  <c:v>Havlíčkův Brod</c:v>
                </c:pt>
                <c:pt idx="15">
                  <c:v>Chomutov</c:v>
                </c:pt>
                <c:pt idx="16">
                  <c:v>Liberec</c:v>
                </c:pt>
                <c:pt idx="17">
                  <c:v>Vsetín</c:v>
                </c:pt>
                <c:pt idx="18">
                  <c:v>Praha-západ</c:v>
                </c:pt>
                <c:pt idx="19">
                  <c:v>Karviná</c:v>
                </c:pt>
              </c:strCache>
            </c:strRef>
          </c:cat>
          <c:val>
            <c:numRef>
              <c:f>Sheet1!$E$2:$E$21</c:f>
              <c:numCache>
                <c:formatCode>General</c:formatCode>
                <c:ptCount val="20"/>
                <c:pt idx="0">
                  <c:v>90.024756808122007</c:v>
                </c:pt>
                <c:pt idx="1">
                  <c:v>86.431833007175001</c:v>
                </c:pt>
                <c:pt idx="2">
                  <c:v>74.764088989472</c:v>
                </c:pt>
                <c:pt idx="3">
                  <c:v>69.683929970193006</c:v>
                </c:pt>
                <c:pt idx="4">
                  <c:v>52.954882440159999</c:v>
                </c:pt>
                <c:pt idx="5">
                  <c:v>52.907945863224001</c:v>
                </c:pt>
                <c:pt idx="6">
                  <c:v>51.625149269685998</c:v>
                </c:pt>
                <c:pt idx="7">
                  <c:v>50.559975578577003</c:v>
                </c:pt>
                <c:pt idx="8">
                  <c:v>49.825222461833</c:v>
                </c:pt>
                <c:pt idx="9">
                  <c:v>49.515524573291998</c:v>
                </c:pt>
                <c:pt idx="10">
                  <c:v>46.640321187940998</c:v>
                </c:pt>
                <c:pt idx="11">
                  <c:v>45.771561120549002</c:v>
                </c:pt>
                <c:pt idx="12">
                  <c:v>45.159625451596</c:v>
                </c:pt>
                <c:pt idx="13">
                  <c:v>44.737099637908997</c:v>
                </c:pt>
                <c:pt idx="14">
                  <c:v>44.391831902928999</c:v>
                </c:pt>
                <c:pt idx="15">
                  <c:v>41.733547351524003</c:v>
                </c:pt>
                <c:pt idx="16">
                  <c:v>39.893995953607998</c:v>
                </c:pt>
                <c:pt idx="17">
                  <c:v>39.465524045780001</c:v>
                </c:pt>
                <c:pt idx="18">
                  <c:v>39.399809567586999</c:v>
                </c:pt>
                <c:pt idx="19">
                  <c:v>37.894546068646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C31-4125-A549-285CF38DF62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9.5.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5944-47A1-8932-0F6118E2CB1A}"/>
              </c:ext>
            </c:extLst>
          </c:dPt>
          <c:dPt>
            <c:idx val="1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944-47A1-8932-0F6118E2CB1A}"/>
              </c:ext>
            </c:extLst>
          </c:dPt>
          <c:dPt>
            <c:idx val="2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5944-47A1-8932-0F6118E2CB1A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1</c:f>
              <c:strCache>
                <c:ptCount val="20"/>
                <c:pt idx="0">
                  <c:v>Šumperk</c:v>
                </c:pt>
                <c:pt idx="1">
                  <c:v>Český Krumlov</c:v>
                </c:pt>
                <c:pt idx="2">
                  <c:v>Rokycany</c:v>
                </c:pt>
                <c:pt idx="3">
                  <c:v>České Budějovice</c:v>
                </c:pt>
                <c:pt idx="4">
                  <c:v>Uherské Hradiště</c:v>
                </c:pt>
                <c:pt idx="5">
                  <c:v>Opava</c:v>
                </c:pt>
                <c:pt idx="6">
                  <c:v>Zlín</c:v>
                </c:pt>
                <c:pt idx="7">
                  <c:v>Kroměříž</c:v>
                </c:pt>
                <c:pt idx="8">
                  <c:v>Děčín</c:v>
                </c:pt>
                <c:pt idx="9">
                  <c:v>Česká Lípa</c:v>
                </c:pt>
                <c:pt idx="10">
                  <c:v>Ostrava-město</c:v>
                </c:pt>
                <c:pt idx="11">
                  <c:v>Přerov</c:v>
                </c:pt>
                <c:pt idx="12">
                  <c:v>Prostějov</c:v>
                </c:pt>
                <c:pt idx="13">
                  <c:v>Frýdek-Místek</c:v>
                </c:pt>
                <c:pt idx="14">
                  <c:v>Havlíčkův Brod</c:v>
                </c:pt>
                <c:pt idx="15">
                  <c:v>Chomutov</c:v>
                </c:pt>
                <c:pt idx="16">
                  <c:v>Liberec</c:v>
                </c:pt>
                <c:pt idx="17">
                  <c:v>Vsetín</c:v>
                </c:pt>
                <c:pt idx="18">
                  <c:v>Praha-západ</c:v>
                </c:pt>
                <c:pt idx="19">
                  <c:v>Karviná</c:v>
                </c:pt>
              </c:strCache>
            </c:strRef>
          </c:cat>
          <c:val>
            <c:numRef>
              <c:f>Sheet1!$B$2:$B$21</c:f>
              <c:numCache>
                <c:formatCode>[$-10405]#\ ##0.0;\(#\ ##0.0\)</c:formatCode>
                <c:ptCount val="20"/>
                <c:pt idx="0">
                  <c:v>90.024756808122007</c:v>
                </c:pt>
                <c:pt idx="1">
                  <c:v>86.431833007175001</c:v>
                </c:pt>
                <c:pt idx="2">
                  <c:v>74.764088989472</c:v>
                </c:pt>
                <c:pt idx="3">
                  <c:v>69.683929970193006</c:v>
                </c:pt>
                <c:pt idx="4">
                  <c:v>52.954882440159999</c:v>
                </c:pt>
                <c:pt idx="5">
                  <c:v>52.907945863224001</c:v>
                </c:pt>
                <c:pt idx="6">
                  <c:v>51.625149269685998</c:v>
                </c:pt>
                <c:pt idx="7">
                  <c:v>50.559975578577003</c:v>
                </c:pt>
                <c:pt idx="8">
                  <c:v>49.825222461833</c:v>
                </c:pt>
                <c:pt idx="9">
                  <c:v>49.515524573291998</c:v>
                </c:pt>
                <c:pt idx="10">
                  <c:v>46.640321187940998</c:v>
                </c:pt>
                <c:pt idx="11">
                  <c:v>45.771561120549002</c:v>
                </c:pt>
                <c:pt idx="12">
                  <c:v>45.159625451596</c:v>
                </c:pt>
                <c:pt idx="13">
                  <c:v>44.737099637908997</c:v>
                </c:pt>
                <c:pt idx="14">
                  <c:v>44.391831902928999</c:v>
                </c:pt>
                <c:pt idx="15">
                  <c:v>41.733547351524003</c:v>
                </c:pt>
                <c:pt idx="16">
                  <c:v>39.893995953607998</c:v>
                </c:pt>
                <c:pt idx="17">
                  <c:v>39.465524045780001</c:v>
                </c:pt>
                <c:pt idx="18">
                  <c:v>39.399809567586999</c:v>
                </c:pt>
                <c:pt idx="19">
                  <c:v>37.894546068646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2B-4171-AE9D-D1549822F9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[$-10405]#\ ##0.0;\(#\ ##0.0\)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ové případy za 7 dní na 100 000 obyvatel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05E-4BE4-A359-8EBC5A58012C}"/>
              </c:ext>
            </c:extLst>
          </c:dPt>
          <c:dPt>
            <c:idx val="1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E05E-4BE4-A359-8EBC5A58012C}"/>
              </c:ext>
            </c:extLst>
          </c:dPt>
          <c:dPt>
            <c:idx val="2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E05E-4BE4-A359-8EBC5A58012C}"/>
              </c:ext>
            </c:extLst>
          </c:dPt>
          <c:dPt>
            <c:idx val="3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E05E-4BE4-A359-8EBC5A58012C}"/>
              </c:ext>
            </c:extLst>
          </c:dPt>
          <c:dPt>
            <c:idx val="4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E05E-4BE4-A359-8EBC5A58012C}"/>
              </c:ext>
            </c:extLst>
          </c:dPt>
          <c:dPt>
            <c:idx val="7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E05E-4BE4-A359-8EBC5A58012C}"/>
              </c:ext>
            </c:extLst>
          </c:dPt>
          <c:dPt>
            <c:idx val="8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E05E-4BE4-A359-8EBC5A58012C}"/>
              </c:ext>
            </c:extLst>
          </c:dPt>
          <c:dPt>
            <c:idx val="10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E05E-4BE4-A359-8EBC5A58012C}"/>
              </c:ext>
            </c:extLst>
          </c:dPt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1</c:f>
              <c:strCache>
                <c:ptCount val="20"/>
                <c:pt idx="0">
                  <c:v>Cheb</c:v>
                </c:pt>
                <c:pt idx="1">
                  <c:v>Nymburk</c:v>
                </c:pt>
                <c:pt idx="2">
                  <c:v>Rokycany</c:v>
                </c:pt>
                <c:pt idx="3">
                  <c:v>Náchod</c:v>
                </c:pt>
                <c:pt idx="4">
                  <c:v>Břeclav</c:v>
                </c:pt>
                <c:pt idx="5">
                  <c:v>Česká Lípa</c:v>
                </c:pt>
                <c:pt idx="6">
                  <c:v>Prostějov</c:v>
                </c:pt>
                <c:pt idx="7">
                  <c:v>Benešov</c:v>
                </c:pt>
                <c:pt idx="8">
                  <c:v>Plzeň-město</c:v>
                </c:pt>
                <c:pt idx="9">
                  <c:v>Hradec Králové</c:v>
                </c:pt>
                <c:pt idx="10">
                  <c:v>Přerov</c:v>
                </c:pt>
                <c:pt idx="11">
                  <c:v>Šumperk</c:v>
                </c:pt>
                <c:pt idx="12">
                  <c:v>Rychnov nad Kněžnou</c:v>
                </c:pt>
                <c:pt idx="13">
                  <c:v>Kladno</c:v>
                </c:pt>
                <c:pt idx="14">
                  <c:v>Vyškov</c:v>
                </c:pt>
                <c:pt idx="15">
                  <c:v>Bruntál</c:v>
                </c:pt>
                <c:pt idx="16">
                  <c:v>Brno-venkov</c:v>
                </c:pt>
                <c:pt idx="17">
                  <c:v>Klatovy</c:v>
                </c:pt>
                <c:pt idx="18">
                  <c:v>Jindřichův Hradec</c:v>
                </c:pt>
                <c:pt idx="19">
                  <c:v>Uherské Hradiště</c:v>
                </c:pt>
              </c:strCache>
            </c:strRef>
          </c:cat>
          <c:val>
            <c:numRef>
              <c:f>Sheet1!$B$2:$B$21</c:f>
              <c:numCache>
                <c:formatCode>[$-10405]#\ ##0.00;\(#\ ##0.00\)</c:formatCode>
                <c:ptCount val="20"/>
                <c:pt idx="0">
                  <c:v>0.8</c:v>
                </c:pt>
                <c:pt idx="1">
                  <c:v>0.92982456140299996</c:v>
                </c:pt>
                <c:pt idx="2">
                  <c:v>0.77083333333299997</c:v>
                </c:pt>
                <c:pt idx="3">
                  <c:v>0.94482758620600005</c:v>
                </c:pt>
                <c:pt idx="4">
                  <c:v>0.94936708860700003</c:v>
                </c:pt>
                <c:pt idx="5">
                  <c:v>0.58125000000000004</c:v>
                </c:pt>
                <c:pt idx="6">
                  <c:v>0.6875</c:v>
                </c:pt>
                <c:pt idx="7">
                  <c:v>1.1041666666659999</c:v>
                </c:pt>
                <c:pt idx="8">
                  <c:v>0.72727272727199999</c:v>
                </c:pt>
                <c:pt idx="9">
                  <c:v>0.41803278688500001</c:v>
                </c:pt>
                <c:pt idx="10">
                  <c:v>0.70476190476099998</c:v>
                </c:pt>
                <c:pt idx="11">
                  <c:v>0.88059701492499998</c:v>
                </c:pt>
                <c:pt idx="12">
                  <c:v>0.83050847457599997</c:v>
                </c:pt>
                <c:pt idx="13">
                  <c:v>0.78688524590099995</c:v>
                </c:pt>
                <c:pt idx="14">
                  <c:v>0.875</c:v>
                </c:pt>
                <c:pt idx="15">
                  <c:v>1.181818181818</c:v>
                </c:pt>
                <c:pt idx="16">
                  <c:v>0.875</c:v>
                </c:pt>
                <c:pt idx="17">
                  <c:v>0.51376146788900001</c:v>
                </c:pt>
                <c:pt idx="18">
                  <c:v>0.857142857142</c:v>
                </c:pt>
                <c:pt idx="19">
                  <c:v>0.621621621620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E05E-4BE4-A359-8EBC5A58012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#,##0.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ové případy za 7 dní na 100 000 obyvatel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9D0-47C0-898E-BF6258A712B5}"/>
              </c:ext>
            </c:extLst>
          </c:dPt>
          <c:dPt>
            <c:idx val="1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9D0-47C0-898E-BF6258A712B5}"/>
              </c:ext>
            </c:extLst>
          </c:dPt>
          <c:dPt>
            <c:idx val="2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F9D0-47C0-898E-BF6258A712B5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1</c:f>
              <c:strCache>
                <c:ptCount val="20"/>
                <c:pt idx="0">
                  <c:v>Cheb</c:v>
                </c:pt>
                <c:pt idx="1">
                  <c:v>Nymburk</c:v>
                </c:pt>
                <c:pt idx="2">
                  <c:v>Rokycany</c:v>
                </c:pt>
                <c:pt idx="3">
                  <c:v>Náchod</c:v>
                </c:pt>
                <c:pt idx="4">
                  <c:v>Břeclav</c:v>
                </c:pt>
                <c:pt idx="5">
                  <c:v>Česká Lípa</c:v>
                </c:pt>
                <c:pt idx="6">
                  <c:v>Prostějov</c:v>
                </c:pt>
                <c:pt idx="7">
                  <c:v>Benešov</c:v>
                </c:pt>
                <c:pt idx="8">
                  <c:v>Plzeň-město</c:v>
                </c:pt>
                <c:pt idx="9">
                  <c:v>Hradec Králové</c:v>
                </c:pt>
                <c:pt idx="10">
                  <c:v>Přerov</c:v>
                </c:pt>
                <c:pt idx="11">
                  <c:v>Šumperk</c:v>
                </c:pt>
                <c:pt idx="12">
                  <c:v>Rychnov nad Kněžnou</c:v>
                </c:pt>
                <c:pt idx="13">
                  <c:v>Kladno</c:v>
                </c:pt>
                <c:pt idx="14">
                  <c:v>Vyškov</c:v>
                </c:pt>
                <c:pt idx="15">
                  <c:v>Bruntál</c:v>
                </c:pt>
                <c:pt idx="16">
                  <c:v>Brno-venkov</c:v>
                </c:pt>
                <c:pt idx="17">
                  <c:v>Klatovy</c:v>
                </c:pt>
                <c:pt idx="18">
                  <c:v>Jindřichův Hradec</c:v>
                </c:pt>
                <c:pt idx="19">
                  <c:v>Uherské Hradiště</c:v>
                </c:pt>
              </c:strCache>
            </c:strRef>
          </c:cat>
          <c:val>
            <c:numRef>
              <c:f>Sheet1!$B$2:$B$21</c:f>
              <c:numCache>
                <c:formatCode>[$-10405]0.0\ %</c:formatCode>
                <c:ptCount val="20"/>
                <c:pt idx="0">
                  <c:v>6.6549912434000005E-2</c:v>
                </c:pt>
                <c:pt idx="1">
                  <c:v>6.8441064637999996E-2</c:v>
                </c:pt>
                <c:pt idx="2">
                  <c:v>8.5594989561000007E-2</c:v>
                </c:pt>
                <c:pt idx="3">
                  <c:v>4.7703180211999999E-2</c:v>
                </c:pt>
                <c:pt idx="4">
                  <c:v>2.6162052323999999E-2</c:v>
                </c:pt>
                <c:pt idx="5">
                  <c:v>2.3223729592999998E-2</c:v>
                </c:pt>
                <c:pt idx="6">
                  <c:v>1.8485195485000001E-2</c:v>
                </c:pt>
                <c:pt idx="7">
                  <c:v>2.5680534155E-2</c:v>
                </c:pt>
                <c:pt idx="8">
                  <c:v>3.4296724469999998E-2</c:v>
                </c:pt>
                <c:pt idx="9">
                  <c:v>3.5871617368999999E-2</c:v>
                </c:pt>
                <c:pt idx="10">
                  <c:v>2.4129114733000001E-2</c:v>
                </c:pt>
                <c:pt idx="11">
                  <c:v>6.2160062160000001E-2</c:v>
                </c:pt>
                <c:pt idx="12">
                  <c:v>5.4140127388000003E-2</c:v>
                </c:pt>
                <c:pt idx="13">
                  <c:v>2.0900321542999999E-2</c:v>
                </c:pt>
                <c:pt idx="14">
                  <c:v>3.0638852671999998E-2</c:v>
                </c:pt>
                <c:pt idx="15">
                  <c:v>2.5641025641000001E-2</c:v>
                </c:pt>
                <c:pt idx="16">
                  <c:v>3.3189033189000003E-2</c:v>
                </c:pt>
                <c:pt idx="17">
                  <c:v>2.399713467E-2</c:v>
                </c:pt>
                <c:pt idx="18">
                  <c:v>1.3528437327000001E-2</c:v>
                </c:pt>
                <c:pt idx="19">
                  <c:v>1.8667131890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F9D0-47C0-898E-BF6258A712B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0%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ové případy za 7 dní na 100 000 obyvatel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5944-47A1-8932-0F6118E2CB1A}"/>
              </c:ext>
            </c:extLst>
          </c:dPt>
          <c:dPt>
            <c:idx val="1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944-47A1-8932-0F6118E2CB1A}"/>
              </c:ext>
            </c:extLst>
          </c:dPt>
          <c:dPt>
            <c:idx val="2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5944-47A1-8932-0F6118E2CB1A}"/>
              </c:ext>
            </c:extLst>
          </c:dPt>
          <c:dPt>
            <c:idx val="3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7073-479C-A53C-670206C9E724}"/>
              </c:ext>
            </c:extLst>
          </c:dPt>
          <c:dPt>
            <c:idx val="4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7073-479C-A53C-670206C9E724}"/>
              </c:ext>
            </c:extLst>
          </c:dPt>
          <c:dPt>
            <c:idx val="5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7073-479C-A53C-670206C9E724}"/>
              </c:ext>
            </c:extLst>
          </c:dPt>
          <c:dPt>
            <c:idx val="6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7073-479C-A53C-670206C9E724}"/>
              </c:ext>
            </c:extLst>
          </c:dPt>
          <c:dPt>
            <c:idx val="7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A-7073-479C-A53C-670206C9E724}"/>
              </c:ext>
            </c:extLst>
          </c:dPt>
          <c:dPt>
            <c:idx val="8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7073-479C-A53C-670206C9E724}"/>
              </c:ext>
            </c:extLst>
          </c:dPt>
          <c:dPt>
            <c:idx val="9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7073-479C-A53C-670206C9E724}"/>
              </c:ext>
            </c:extLst>
          </c:dPt>
          <c:dPt>
            <c:idx val="10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C-7073-479C-A53C-670206C9E724}"/>
              </c:ext>
            </c:extLst>
          </c:dPt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1</c:f>
              <c:strCache>
                <c:ptCount val="20"/>
                <c:pt idx="0">
                  <c:v>Jeseník</c:v>
                </c:pt>
                <c:pt idx="1">
                  <c:v>Semily</c:v>
                </c:pt>
                <c:pt idx="2">
                  <c:v>Rakovník</c:v>
                </c:pt>
                <c:pt idx="3">
                  <c:v>Trutnov</c:v>
                </c:pt>
                <c:pt idx="4">
                  <c:v>Plzeň-sever</c:v>
                </c:pt>
                <c:pt idx="5">
                  <c:v>Louny</c:v>
                </c:pt>
                <c:pt idx="6">
                  <c:v>Chomutov</c:v>
                </c:pt>
                <c:pt idx="7">
                  <c:v>Mladá Boleslav</c:v>
                </c:pt>
                <c:pt idx="8">
                  <c:v>Jablonec nad Nisou</c:v>
                </c:pt>
                <c:pt idx="9">
                  <c:v>Kroměříž</c:v>
                </c:pt>
                <c:pt idx="10">
                  <c:v>Teplice</c:v>
                </c:pt>
                <c:pt idx="11">
                  <c:v>Plzeň-jih</c:v>
                </c:pt>
                <c:pt idx="12">
                  <c:v>Jičín</c:v>
                </c:pt>
                <c:pt idx="13">
                  <c:v>Uherské Hradiště</c:v>
                </c:pt>
                <c:pt idx="14">
                  <c:v>Břeclav</c:v>
                </c:pt>
                <c:pt idx="15">
                  <c:v>České Budějovice</c:v>
                </c:pt>
                <c:pt idx="16">
                  <c:v>Český Krumlov</c:v>
                </c:pt>
                <c:pt idx="17">
                  <c:v>Karlovy Vary</c:v>
                </c:pt>
                <c:pt idx="18">
                  <c:v>Rychnov nad Kněžnou</c:v>
                </c:pt>
                <c:pt idx="19">
                  <c:v>Klatovy</c:v>
                </c:pt>
              </c:strCache>
            </c:strRef>
          </c:cat>
          <c:val>
            <c:numRef>
              <c:f>Sheet1!$B$2:$B$21</c:f>
              <c:numCache>
                <c:formatCode>[$-10405]#\ ##0.00;\(#\ ##0.00\)</c:formatCode>
                <c:ptCount val="20"/>
                <c:pt idx="0">
                  <c:v>2</c:v>
                </c:pt>
                <c:pt idx="1">
                  <c:v>1.4</c:v>
                </c:pt>
                <c:pt idx="2">
                  <c:v>1.272727272727</c:v>
                </c:pt>
                <c:pt idx="3">
                  <c:v>1.25</c:v>
                </c:pt>
                <c:pt idx="4">
                  <c:v>1.2</c:v>
                </c:pt>
                <c:pt idx="5">
                  <c:v>1.2</c:v>
                </c:pt>
                <c:pt idx="6">
                  <c:v>1.181818181818</c:v>
                </c:pt>
                <c:pt idx="7">
                  <c:v>1.181818181818</c:v>
                </c:pt>
                <c:pt idx="8">
                  <c:v>1.148148148148</c:v>
                </c:pt>
                <c:pt idx="9">
                  <c:v>1.1041666666659999</c:v>
                </c:pt>
                <c:pt idx="10">
                  <c:v>1.0270270270270001</c:v>
                </c:pt>
                <c:pt idx="11">
                  <c:v>1</c:v>
                </c:pt>
                <c:pt idx="12">
                  <c:v>1</c:v>
                </c:pt>
                <c:pt idx="13">
                  <c:v>0.94936708860700003</c:v>
                </c:pt>
                <c:pt idx="14">
                  <c:v>0.94871794871699999</c:v>
                </c:pt>
                <c:pt idx="15">
                  <c:v>0.94482758620600005</c:v>
                </c:pt>
                <c:pt idx="16">
                  <c:v>0.92982456140299996</c:v>
                </c:pt>
                <c:pt idx="17">
                  <c:v>0.92307692307599998</c:v>
                </c:pt>
                <c:pt idx="18">
                  <c:v>0.90909090909000001</c:v>
                </c:pt>
                <c:pt idx="19">
                  <c:v>0.896551724137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2B-4171-AE9D-D1549822F9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[$-10405]#\ ##0.00;\(#\ ##0.00\)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ové případy za 7 dní na 100 000 obyvatel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05A9-49E6-9E93-BE08CED75D17}"/>
              </c:ext>
            </c:extLst>
          </c:dPt>
          <c:dPt>
            <c:idx val="1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05A9-49E6-9E93-BE08CED75D17}"/>
              </c:ext>
            </c:extLst>
          </c:dPt>
          <c:dPt>
            <c:idx val="2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05A9-49E6-9E93-BE08CED75D17}"/>
              </c:ext>
            </c:extLst>
          </c:dPt>
          <c:dPt>
            <c:idx val="3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84FC-4F2A-8850-F74443BEFA26}"/>
              </c:ext>
            </c:extLst>
          </c:dPt>
          <c:dPt>
            <c:idx val="4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4FC-4F2A-8850-F74443BEFA26}"/>
              </c:ext>
            </c:extLst>
          </c:dPt>
          <c:dPt>
            <c:idx val="7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84FC-4F2A-8850-F74443BEFA26}"/>
              </c:ext>
            </c:extLst>
          </c:dPt>
          <c:dPt>
            <c:idx val="8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84FC-4F2A-8850-F74443BEFA26}"/>
              </c:ext>
            </c:extLst>
          </c:dPt>
          <c:dPt>
            <c:idx val="10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A-84FC-4F2A-8850-F74443BEFA26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1</c:f>
              <c:strCache>
                <c:ptCount val="20"/>
                <c:pt idx="0">
                  <c:v>Cheb</c:v>
                </c:pt>
                <c:pt idx="1">
                  <c:v>Nymburk</c:v>
                </c:pt>
                <c:pt idx="2">
                  <c:v>Rokycany</c:v>
                </c:pt>
                <c:pt idx="3">
                  <c:v>Náchod</c:v>
                </c:pt>
                <c:pt idx="4">
                  <c:v>Břeclav</c:v>
                </c:pt>
                <c:pt idx="5">
                  <c:v>Česká Lípa</c:v>
                </c:pt>
                <c:pt idx="6">
                  <c:v>Prostějov</c:v>
                </c:pt>
                <c:pt idx="7">
                  <c:v>Benešov</c:v>
                </c:pt>
                <c:pt idx="8">
                  <c:v>Plzeň-město</c:v>
                </c:pt>
                <c:pt idx="9">
                  <c:v>Hradec Králové</c:v>
                </c:pt>
                <c:pt idx="10">
                  <c:v>Přerov</c:v>
                </c:pt>
                <c:pt idx="11">
                  <c:v>Šumperk</c:v>
                </c:pt>
                <c:pt idx="12">
                  <c:v>Rychnov nad Kněžnou</c:v>
                </c:pt>
                <c:pt idx="13">
                  <c:v>Kladno</c:v>
                </c:pt>
                <c:pt idx="14">
                  <c:v>Vyškov</c:v>
                </c:pt>
                <c:pt idx="15">
                  <c:v>Bruntál</c:v>
                </c:pt>
                <c:pt idx="16">
                  <c:v>Brno-venkov</c:v>
                </c:pt>
                <c:pt idx="17">
                  <c:v>Klatovy</c:v>
                </c:pt>
                <c:pt idx="18">
                  <c:v>Jindřichův Hradec</c:v>
                </c:pt>
                <c:pt idx="19">
                  <c:v>Uherské Hradiště</c:v>
                </c:pt>
              </c:strCache>
            </c:strRef>
          </c:cat>
          <c:val>
            <c:numRef>
              <c:f>Sheet1!$B$2:$B$21</c:f>
              <c:numCache>
                <c:formatCode>[$-10405]#\ ##0.0;\(#\ ##0.0\)</c:formatCode>
                <c:ptCount val="20"/>
                <c:pt idx="0">
                  <c:v>10.607547269882</c:v>
                </c:pt>
                <c:pt idx="1">
                  <c:v>9.6578366445910007</c:v>
                </c:pt>
                <c:pt idx="2">
                  <c:v>25.1179647272</c:v>
                </c:pt>
                <c:pt idx="3">
                  <c:v>4.25843596164</c:v>
                </c:pt>
                <c:pt idx="4">
                  <c:v>22.312850962551</c:v>
                </c:pt>
                <c:pt idx="5">
                  <c:v>20.842017507293999</c:v>
                </c:pt>
                <c:pt idx="6">
                  <c:v>41.733547351524003</c:v>
                </c:pt>
                <c:pt idx="7">
                  <c:v>19.840967018206999</c:v>
                </c:pt>
                <c:pt idx="8">
                  <c:v>33.867566888444003</c:v>
                </c:pt>
                <c:pt idx="9">
                  <c:v>50.559975578577003</c:v>
                </c:pt>
                <c:pt idx="10">
                  <c:v>29.496235348909</c:v>
                </c:pt>
                <c:pt idx="11">
                  <c:v>18.536738389585</c:v>
                </c:pt>
                <c:pt idx="12">
                  <c:v>6.2395487558329998</c:v>
                </c:pt>
                <c:pt idx="13">
                  <c:v>52.954882440159999</c:v>
                </c:pt>
                <c:pt idx="14">
                  <c:v>31.764564482065001</c:v>
                </c:pt>
                <c:pt idx="15">
                  <c:v>69.683929970193006</c:v>
                </c:pt>
                <c:pt idx="16">
                  <c:v>86.431833007175001</c:v>
                </c:pt>
                <c:pt idx="17">
                  <c:v>10.491895011103001</c:v>
                </c:pt>
                <c:pt idx="18">
                  <c:v>25.210189958781001</c:v>
                </c:pt>
                <c:pt idx="19">
                  <c:v>30.143879053481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05A9-49E6-9E93-BE08CED75D1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[$-10405]#\ ##0.0;\(#\ ##0.0\)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ové případy za 7 dní na 100 000 obyvatel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162E-4D6A-9D87-419241CDACFF}"/>
              </c:ext>
            </c:extLst>
          </c:dPt>
          <c:dPt>
            <c:idx val="1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162E-4D6A-9D87-419241CDACFF}"/>
              </c:ext>
            </c:extLst>
          </c:dPt>
          <c:dPt>
            <c:idx val="2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162E-4D6A-9D87-419241CDACFF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1</c:f>
              <c:strCache>
                <c:ptCount val="20"/>
                <c:pt idx="0">
                  <c:v>Cheb</c:v>
                </c:pt>
                <c:pt idx="1">
                  <c:v>Nymburk</c:v>
                </c:pt>
                <c:pt idx="2">
                  <c:v>Rokycany</c:v>
                </c:pt>
                <c:pt idx="3">
                  <c:v>Náchod</c:v>
                </c:pt>
                <c:pt idx="4">
                  <c:v>Břeclav</c:v>
                </c:pt>
                <c:pt idx="5">
                  <c:v>Česká Lípa</c:v>
                </c:pt>
                <c:pt idx="6">
                  <c:v>Prostějov</c:v>
                </c:pt>
                <c:pt idx="7">
                  <c:v>Benešov</c:v>
                </c:pt>
                <c:pt idx="8">
                  <c:v>Plzeň-město</c:v>
                </c:pt>
                <c:pt idx="9">
                  <c:v>Hradec Králové</c:v>
                </c:pt>
                <c:pt idx="10">
                  <c:v>Přerov</c:v>
                </c:pt>
                <c:pt idx="11">
                  <c:v>Šumperk</c:v>
                </c:pt>
                <c:pt idx="12">
                  <c:v>Rychnov nad Kněžnou</c:v>
                </c:pt>
                <c:pt idx="13">
                  <c:v>Kladno</c:v>
                </c:pt>
                <c:pt idx="14">
                  <c:v>Vyškov</c:v>
                </c:pt>
                <c:pt idx="15">
                  <c:v>Bruntál</c:v>
                </c:pt>
                <c:pt idx="16">
                  <c:v>Brno-venkov</c:v>
                </c:pt>
                <c:pt idx="17">
                  <c:v>Klatovy</c:v>
                </c:pt>
                <c:pt idx="18">
                  <c:v>Jindřichův Hradec</c:v>
                </c:pt>
                <c:pt idx="19">
                  <c:v>Uherské Hradiště</c:v>
                </c:pt>
              </c:strCache>
            </c:strRef>
          </c:cat>
          <c:val>
            <c:numRef>
              <c:f>Sheet1!$B$2:$B$21</c:f>
              <c:numCache>
                <c:formatCode>[$-10405]0.0\ %</c:formatCode>
                <c:ptCount val="20"/>
                <c:pt idx="0">
                  <c:v>9.5465393789999995E-3</c:v>
                </c:pt>
                <c:pt idx="1">
                  <c:v>6.2893081759999997E-3</c:v>
                </c:pt>
                <c:pt idx="2">
                  <c:v>1.4734774066E-2</c:v>
                </c:pt>
                <c:pt idx="3">
                  <c:v>2.2446689109999998E-3</c:v>
                </c:pt>
                <c:pt idx="4">
                  <c:v>1.7730496453E-2</c:v>
                </c:pt>
                <c:pt idx="5">
                  <c:v>1.3343799058000001E-2</c:v>
                </c:pt>
                <c:pt idx="6">
                  <c:v>2.5641025641000001E-2</c:v>
                </c:pt>
                <c:pt idx="7">
                  <c:v>1.1553273427000001E-2</c:v>
                </c:pt>
                <c:pt idx="8">
                  <c:v>1.5701136978000001E-2</c:v>
                </c:pt>
                <c:pt idx="9">
                  <c:v>2.5680534155E-2</c:v>
                </c:pt>
                <c:pt idx="10">
                  <c:v>1.3489208633E-2</c:v>
                </c:pt>
                <c:pt idx="11">
                  <c:v>1.9354838709E-2</c:v>
                </c:pt>
                <c:pt idx="12">
                  <c:v>2.0491803269999998E-3</c:v>
                </c:pt>
                <c:pt idx="13">
                  <c:v>2.6162052323999999E-2</c:v>
                </c:pt>
                <c:pt idx="14">
                  <c:v>2.8043775649E-2</c:v>
                </c:pt>
                <c:pt idx="15">
                  <c:v>4.7703180211999999E-2</c:v>
                </c:pt>
                <c:pt idx="16">
                  <c:v>6.8441064637999996E-2</c:v>
                </c:pt>
                <c:pt idx="17">
                  <c:v>8.5106382970000002E-3</c:v>
                </c:pt>
                <c:pt idx="18">
                  <c:v>1.3461538461000001E-2</c:v>
                </c:pt>
                <c:pt idx="19">
                  <c:v>5.438596491199999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162E-4D6A-9D87-419241CDACF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0%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5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155:$A$280</c:f>
              <c:numCache>
                <c:formatCode>m/d/yyyy</c:formatCode>
                <c:ptCount val="126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</c:numCache>
            </c:numRef>
          </c:cat>
          <c:val>
            <c:numRef>
              <c:f>Sheet1!$H$155:$H$280</c:f>
              <c:numCache>
                <c:formatCode>General</c:formatCode>
                <c:ptCount val="126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EF5-483F-B422-4E0629062509}"/>
            </c:ext>
          </c:extLst>
        </c:ser>
        <c:ser>
          <c:idx val="7"/>
          <c:order val="6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rgbClr val="C2FFDF"/>
            </a:solidFill>
            <a:ln>
              <a:noFill/>
            </a:ln>
            <a:effectLst/>
          </c:spPr>
          <c:cat>
            <c:numRef>
              <c:f>Sheet1!$A$155:$A$280</c:f>
              <c:numCache>
                <c:formatCode>m/d/yyyy</c:formatCode>
                <c:ptCount val="126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</c:numCache>
            </c:numRef>
          </c:cat>
          <c:val>
            <c:numRef>
              <c:f>Sheet1!$I$155:$I$280</c:f>
              <c:numCache>
                <c:formatCode>General</c:formatCode>
                <c:ptCount val="126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  <c:pt idx="79">
                  <c:v>50</c:v>
                </c:pt>
                <c:pt idx="80">
                  <c:v>50</c:v>
                </c:pt>
                <c:pt idx="81">
                  <c:v>50</c:v>
                </c:pt>
                <c:pt idx="82">
                  <c:v>50</c:v>
                </c:pt>
                <c:pt idx="83">
                  <c:v>50</c:v>
                </c:pt>
                <c:pt idx="84">
                  <c:v>50</c:v>
                </c:pt>
                <c:pt idx="85">
                  <c:v>50</c:v>
                </c:pt>
                <c:pt idx="86">
                  <c:v>50</c:v>
                </c:pt>
                <c:pt idx="87">
                  <c:v>50</c:v>
                </c:pt>
                <c:pt idx="88">
                  <c:v>50</c:v>
                </c:pt>
                <c:pt idx="89">
                  <c:v>50</c:v>
                </c:pt>
                <c:pt idx="90">
                  <c:v>50</c:v>
                </c:pt>
                <c:pt idx="91">
                  <c:v>50</c:v>
                </c:pt>
                <c:pt idx="92">
                  <c:v>50</c:v>
                </c:pt>
                <c:pt idx="93">
                  <c:v>50</c:v>
                </c:pt>
                <c:pt idx="94">
                  <c:v>50</c:v>
                </c:pt>
                <c:pt idx="95">
                  <c:v>50</c:v>
                </c:pt>
                <c:pt idx="96">
                  <c:v>50</c:v>
                </c:pt>
                <c:pt idx="97">
                  <c:v>50</c:v>
                </c:pt>
                <c:pt idx="98">
                  <c:v>50</c:v>
                </c:pt>
                <c:pt idx="99">
                  <c:v>50</c:v>
                </c:pt>
                <c:pt idx="100">
                  <c:v>50</c:v>
                </c:pt>
                <c:pt idx="101">
                  <c:v>50</c:v>
                </c:pt>
                <c:pt idx="102">
                  <c:v>50</c:v>
                </c:pt>
                <c:pt idx="103">
                  <c:v>50</c:v>
                </c:pt>
                <c:pt idx="104">
                  <c:v>50</c:v>
                </c:pt>
                <c:pt idx="105">
                  <c:v>50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  <c:pt idx="110">
                  <c:v>50</c:v>
                </c:pt>
                <c:pt idx="111">
                  <c:v>50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0</c:v>
                </c:pt>
                <c:pt idx="122">
                  <c:v>50</c:v>
                </c:pt>
                <c:pt idx="123">
                  <c:v>50</c:v>
                </c:pt>
                <c:pt idx="124">
                  <c:v>50</c:v>
                </c:pt>
                <c:pt idx="125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EF5-483F-B422-4E06290625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55:$A$280</c:f>
              <c:numCache>
                <c:formatCode>m/d/yyyy</c:formatCode>
                <c:ptCount val="126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</c:numCache>
            </c:numRef>
          </c:cat>
          <c:val>
            <c:numRef>
              <c:f>Sheet1!$B$155:$B$280</c:f>
              <c:numCache>
                <c:formatCode>General</c:formatCode>
                <c:ptCount val="126"/>
                <c:pt idx="0">
                  <c:v>445.17740376113989</c:v>
                </c:pt>
                <c:pt idx="1">
                  <c:v>444.73790246980087</c:v>
                </c:pt>
                <c:pt idx="2">
                  <c:v>455.61322165761374</c:v>
                </c:pt>
                <c:pt idx="3">
                  <c:v>456.52027751420684</c:v>
                </c:pt>
                <c:pt idx="4">
                  <c:v>461.84104846679975</c:v>
                </c:pt>
                <c:pt idx="5">
                  <c:v>468.99463331518911</c:v>
                </c:pt>
                <c:pt idx="6">
                  <c:v>467.85380017596884</c:v>
                </c:pt>
                <c:pt idx="7">
                  <c:v>473.09041130681589</c:v>
                </c:pt>
                <c:pt idx="8">
                  <c:v>483.70389993808647</c:v>
                </c:pt>
                <c:pt idx="9">
                  <c:v>482.49760915973059</c:v>
                </c:pt>
                <c:pt idx="10">
                  <c:v>491.01645333866219</c:v>
                </c:pt>
                <c:pt idx="11">
                  <c:v>492.96148033011968</c:v>
                </c:pt>
                <c:pt idx="12">
                  <c:v>495.9631806390517</c:v>
                </c:pt>
                <c:pt idx="13">
                  <c:v>499.9747988089328</c:v>
                </c:pt>
                <c:pt idx="14">
                  <c:v>510.5228298010677</c:v>
                </c:pt>
                <c:pt idx="15">
                  <c:v>532.26411708538831</c:v>
                </c:pt>
                <c:pt idx="16">
                  <c:v>545.36499600381114</c:v>
                </c:pt>
                <c:pt idx="17">
                  <c:v>570.48202724926705</c:v>
                </c:pt>
                <c:pt idx="18">
                  <c:v>593.4670096771639</c:v>
                </c:pt>
                <c:pt idx="19">
                  <c:v>608.74669286967128</c:v>
                </c:pt>
                <c:pt idx="20">
                  <c:v>619.85578934011119</c:v>
                </c:pt>
                <c:pt idx="21">
                  <c:v>643.26157087673676</c:v>
                </c:pt>
                <c:pt idx="22">
                  <c:v>673.48429797476865</c:v>
                </c:pt>
                <c:pt idx="23">
                  <c:v>700.20036583339402</c:v>
                </c:pt>
                <c:pt idx="24">
                  <c:v>727.16891315725661</c:v>
                </c:pt>
                <c:pt idx="25">
                  <c:v>759.78551962939014</c:v>
                </c:pt>
                <c:pt idx="26">
                  <c:v>769.5948144084233</c:v>
                </c:pt>
                <c:pt idx="27">
                  <c:v>774.44803079576207</c:v>
                </c:pt>
                <c:pt idx="28">
                  <c:v>783.02298152252411</c:v>
                </c:pt>
                <c:pt idx="29">
                  <c:v>791.78495407538787</c:v>
                </c:pt>
                <c:pt idx="30">
                  <c:v>805.25987664601416</c:v>
                </c:pt>
                <c:pt idx="31">
                  <c:v>805.82094212431912</c:v>
                </c:pt>
                <c:pt idx="32">
                  <c:v>790.79373839704897</c:v>
                </c:pt>
                <c:pt idx="33">
                  <c:v>803.00626364148889</c:v>
                </c:pt>
                <c:pt idx="34">
                  <c:v>797.34885340191306</c:v>
                </c:pt>
                <c:pt idx="35">
                  <c:v>781.71382873981236</c:v>
                </c:pt>
                <c:pt idx="36">
                  <c:v>768.44463017789792</c:v>
                </c:pt>
                <c:pt idx="37">
                  <c:v>761.88016408172882</c:v>
                </c:pt>
                <c:pt idx="38">
                  <c:v>730.05840037052758</c:v>
                </c:pt>
                <c:pt idx="39">
                  <c:v>746.8062048979333</c:v>
                </c:pt>
                <c:pt idx="40">
                  <c:v>726.47693240068043</c:v>
                </c:pt>
                <c:pt idx="41">
                  <c:v>720.39872305237577</c:v>
                </c:pt>
                <c:pt idx="42">
                  <c:v>720.17429686105368</c:v>
                </c:pt>
                <c:pt idx="43">
                  <c:v>707.73734542529189</c:v>
                </c:pt>
                <c:pt idx="44">
                  <c:v>684.28480843214084</c:v>
                </c:pt>
                <c:pt idx="45">
                  <c:v>678.81442001866662</c:v>
                </c:pt>
                <c:pt idx="46">
                  <c:v>629.72119066697496</c:v>
                </c:pt>
                <c:pt idx="47">
                  <c:v>615.78806462239959</c:v>
                </c:pt>
                <c:pt idx="48">
                  <c:v>606.97933661301045</c:v>
                </c:pt>
                <c:pt idx="49">
                  <c:v>584.6395794851644</c:v>
                </c:pt>
                <c:pt idx="50">
                  <c:v>556.02524009160697</c:v>
                </c:pt>
                <c:pt idx="51">
                  <c:v>526.28876974143952</c:v>
                </c:pt>
                <c:pt idx="52">
                  <c:v>500.71353502203442</c:v>
                </c:pt>
                <c:pt idx="53">
                  <c:v>482.01135241186614</c:v>
                </c:pt>
                <c:pt idx="54">
                  <c:v>468.01276872815527</c:v>
                </c:pt>
                <c:pt idx="55">
                  <c:v>461.96261265376586</c:v>
                </c:pt>
                <c:pt idx="56">
                  <c:v>449.75943850063106</c:v>
                </c:pt>
                <c:pt idx="57">
                  <c:v>427.8965870293444</c:v>
                </c:pt>
                <c:pt idx="58">
                  <c:v>413.07510731078605</c:v>
                </c:pt>
                <c:pt idx="59">
                  <c:v>397.11161987397003</c:v>
                </c:pt>
                <c:pt idx="60">
                  <c:v>360.90267999417199</c:v>
                </c:pt>
                <c:pt idx="61">
                  <c:v>343.99894522189999</c:v>
                </c:pt>
                <c:pt idx="62">
                  <c:v>345.690253123383</c:v>
                </c:pt>
                <c:pt idx="63">
                  <c:v>294.14741121965</c:v>
                </c:pt>
                <c:pt idx="64">
                  <c:v>265.67550417094202</c:v>
                </c:pt>
                <c:pt idx="65">
                  <c:v>263.70386899297102</c:v>
                </c:pt>
                <c:pt idx="66">
                  <c:v>254.69601917513299</c:v>
                </c:pt>
                <c:pt idx="67">
                  <c:v>263.87206535886497</c:v>
                </c:pt>
                <c:pt idx="68">
                  <c:v>264.28321203104798</c:v>
                </c:pt>
                <c:pt idx="69">
                  <c:v>255.49962403440099</c:v>
                </c:pt>
                <c:pt idx="70">
                  <c:v>278.38367403843301</c:v>
                </c:pt>
                <c:pt idx="71">
                  <c:v>273.45925821477999</c:v>
                </c:pt>
                <c:pt idx="72">
                  <c:v>242.27752082668101</c:v>
                </c:pt>
                <c:pt idx="73">
                  <c:v>223.42083936153699</c:v>
                </c:pt>
                <c:pt idx="74">
                  <c:v>208.451362797038</c:v>
                </c:pt>
                <c:pt idx="75">
                  <c:v>202.25612998663601</c:v>
                </c:pt>
                <c:pt idx="76">
                  <c:v>200.83580511909301</c:v>
                </c:pt>
                <c:pt idx="77">
                  <c:v>195.91138929544101</c:v>
                </c:pt>
                <c:pt idx="78">
                  <c:v>184.31518429135599</c:v>
                </c:pt>
                <c:pt idx="79">
                  <c:v>177.176182983442</c:v>
                </c:pt>
                <c:pt idx="80">
                  <c:v>171.24258896443001</c:v>
                </c:pt>
                <c:pt idx="81">
                  <c:v>165.48653555386099</c:v>
                </c:pt>
                <c:pt idx="82">
                  <c:v>163.29998279724899</c:v>
                </c:pt>
                <c:pt idx="83">
                  <c:v>163.225228856852</c:v>
                </c:pt>
                <c:pt idx="84">
                  <c:v>156.10491603403801</c:v>
                </c:pt>
                <c:pt idx="85">
                  <c:v>150.713288082904</c:v>
                </c:pt>
                <c:pt idx="86">
                  <c:v>146.386903782427</c:v>
                </c:pt>
                <c:pt idx="87">
                  <c:v>142.64920676257699</c:v>
                </c:pt>
                <c:pt idx="88">
                  <c:v>138.58446125348999</c:v>
                </c:pt>
                <c:pt idx="89">
                  <c:v>137.31364426674099</c:v>
                </c:pt>
                <c:pt idx="90">
                  <c:v>134.35151937851001</c:v>
                </c:pt>
                <c:pt idx="91">
                  <c:v>130.96890357554599</c:v>
                </c:pt>
                <c:pt idx="92">
                  <c:v>123.287936199754</c:v>
                </c:pt>
                <c:pt idx="93">
                  <c:v>117.541227031735</c:v>
                </c:pt>
                <c:pt idx="94">
                  <c:v>111.41140391918</c:v>
                </c:pt>
                <c:pt idx="95">
                  <c:v>106.47764385297801</c:v>
                </c:pt>
                <c:pt idx="96">
                  <c:v>102.31011167584499</c:v>
                </c:pt>
                <c:pt idx="97">
                  <c:v>101.142081357142</c:v>
                </c:pt>
                <c:pt idx="98">
                  <c:v>94.853406121245001</c:v>
                </c:pt>
                <c:pt idx="99">
                  <c:v>88.069486030217007</c:v>
                </c:pt>
                <c:pt idx="100">
                  <c:v>82.378842317495</c:v>
                </c:pt>
                <c:pt idx="101">
                  <c:v>79.117701667676002</c:v>
                </c:pt>
                <c:pt idx="102">
                  <c:v>73.632631291045996</c:v>
                </c:pt>
                <c:pt idx="103">
                  <c:v>72.436568244694001</c:v>
                </c:pt>
                <c:pt idx="104">
                  <c:v>71.249849440890998</c:v>
                </c:pt>
                <c:pt idx="105">
                  <c:v>67.371988782797004</c:v>
                </c:pt>
                <c:pt idx="106">
                  <c:v>62.774621448380998</c:v>
                </c:pt>
                <c:pt idx="107">
                  <c:v>58.233319569263998</c:v>
                </c:pt>
                <c:pt idx="108">
                  <c:v>53.150051622267</c:v>
                </c:pt>
                <c:pt idx="109">
                  <c:v>49.59923945341</c:v>
                </c:pt>
                <c:pt idx="110">
                  <c:v>47.132359420309001</c:v>
                </c:pt>
                <c:pt idx="111">
                  <c:v>46.571704867331</c:v>
                </c:pt>
                <c:pt idx="112">
                  <c:v>42.534992085893002</c:v>
                </c:pt>
                <c:pt idx="113">
                  <c:v>37.489101109095998</c:v>
                </c:pt>
                <c:pt idx="114">
                  <c:v>35.255827139734997</c:v>
                </c:pt>
                <c:pt idx="115">
                  <c:v>33.639273178650001</c:v>
                </c:pt>
                <c:pt idx="116">
                  <c:v>31.630261030481002</c:v>
                </c:pt>
                <c:pt idx="117">
                  <c:v>30.593050107471999</c:v>
                </c:pt>
                <c:pt idx="118">
                  <c:v>29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280</c:f>
              <c:numCache>
                <c:formatCode>m/d/yyyy</c:formatCode>
                <c:ptCount val="126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</c:numCache>
            </c:numRef>
          </c:cat>
          <c:val>
            <c:numRef>
              <c:f>Sheet1!$C$155:$C$280</c:f>
              <c:numCache>
                <c:formatCode>General</c:formatCode>
                <c:ptCount val="12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14A-45E8-87A1-7BD2345ADB4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75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280</c:f>
              <c:numCache>
                <c:formatCode>m/d/yyyy</c:formatCode>
                <c:ptCount val="126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</c:numCache>
            </c:numRef>
          </c:cat>
          <c:val>
            <c:numRef>
              <c:f>Sheet1!$D$155:$D$280</c:f>
              <c:numCache>
                <c:formatCode>General</c:formatCode>
                <c:ptCount val="126"/>
                <c:pt idx="84" formatCode="0">
                  <c:v>170.99474695523804</c:v>
                </c:pt>
                <c:pt idx="85" formatCode="0">
                  <c:v>164.6939331319042</c:v>
                </c:pt>
                <c:pt idx="86" formatCode="0">
                  <c:v>158.12516246310662</c:v>
                </c:pt>
                <c:pt idx="87" formatCode="0">
                  <c:v>151.50280042521626</c:v>
                </c:pt>
                <c:pt idx="88" formatCode="0">
                  <c:v>144.93402975641871</c:v>
                </c:pt>
                <c:pt idx="89" formatCode="0">
                  <c:v>138.3422913580099</c:v>
                </c:pt>
                <c:pt idx="90" formatCode="0">
                  <c:v>131.68164977076759</c:v>
                </c:pt>
                <c:pt idx="91" formatCode="0">
                  <c:v>124.92148135521016</c:v>
                </c:pt>
                <c:pt idx="92" formatCode="0">
                  <c:v>118.84268891811774</c:v>
                </c:pt>
                <c:pt idx="93" formatCode="0">
                  <c:v>113.19262743376736</c:v>
                </c:pt>
                <c:pt idx="94" formatCode="0">
                  <c:v>107.81817870475116</c:v>
                </c:pt>
                <c:pt idx="95" formatCode="0">
                  <c:v>102.59684817314283</c:v>
                </c:pt>
                <c:pt idx="96" formatCode="0">
                  <c:v>97.559259478423925</c:v>
                </c:pt>
                <c:pt idx="97" formatCode="0">
                  <c:v>92.759003989687216</c:v>
                </c:pt>
                <c:pt idx="98" formatCode="0">
                  <c:v>88.226705346414278</c:v>
                </c:pt>
                <c:pt idx="99" formatCode="0">
                  <c:v>84.008299007827475</c:v>
                </c:pt>
                <c:pt idx="100" formatCode="0">
                  <c:v>80.004258145611715</c:v>
                </c:pt>
                <c:pt idx="101" formatCode="0">
                  <c:v>76.160991390674198</c:v>
                </c:pt>
                <c:pt idx="102" formatCode="0">
                  <c:v>72.478498743014939</c:v>
                </c:pt>
                <c:pt idx="103" formatCode="0">
                  <c:v>68.995059751985906</c:v>
                </c:pt>
                <c:pt idx="104" formatCode="0">
                  <c:v>65.7106744175871</c:v>
                </c:pt>
                <c:pt idx="105" formatCode="0">
                  <c:v>62.602375010207361</c:v>
                </c:pt>
                <c:pt idx="106" formatCode="0">
                  <c:v>59.647193800235485</c:v>
                </c:pt>
                <c:pt idx="107" formatCode="0">
                  <c:v>56.829818967930684</c:v>
                </c:pt>
                <c:pt idx="108" formatCode="0">
                  <c:v>54.150250513292974</c:v>
                </c:pt>
                <c:pt idx="109" formatCode="0">
                  <c:v>51.608488436322347</c:v>
                </c:pt>
                <c:pt idx="110" formatCode="0">
                  <c:v>49.204532737018802</c:v>
                </c:pt>
                <c:pt idx="111" formatCode="0">
                  <c:v>46.915415685771151</c:v>
                </c:pt>
                <c:pt idx="112" formatCode="0">
                  <c:v>44.748793192449803</c:v>
                </c:pt>
                <c:pt idx="113" formatCode="0">
                  <c:v>42.697009347184355</c:v>
                </c:pt>
                <c:pt idx="114" formatCode="0">
                  <c:v>40.737096420363628</c:v>
                </c:pt>
                <c:pt idx="115" formatCode="0">
                  <c:v>38.884366231728407</c:v>
                </c:pt>
                <c:pt idx="116" formatCode="0">
                  <c:v>37.123506961537906</c:v>
                </c:pt>
                <c:pt idx="117" formatCode="0">
                  <c:v>35.446862699921745</c:v>
                </c:pt>
                <c:pt idx="118" formatCode="0">
                  <c:v>33.862089356750296</c:v>
                </c:pt>
                <c:pt idx="119" formatCode="0">
                  <c:v>32.353875112282779</c:v>
                </c:pt>
                <c:pt idx="120" formatCode="0">
                  <c:v>30.914564056648807</c:v>
                </c:pt>
                <c:pt idx="121" formatCode="0">
                  <c:v>29.559468009589164</c:v>
                </c:pt>
                <c:pt idx="122" formatCode="0">
                  <c:v>28.265619241492672</c:v>
                </c:pt>
                <c:pt idx="123" formatCode="0">
                  <c:v>27.040673662229718</c:v>
                </c:pt>
                <c:pt idx="124" formatCode="0">
                  <c:v>25.876975361929908</c:v>
                </c:pt>
                <c:pt idx="125" formatCode="0">
                  <c:v>24.7745243405932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14A-45E8-87A1-7BD2345ADB46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0,85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280</c:f>
              <c:numCache>
                <c:formatCode>m/d/yyyy</c:formatCode>
                <c:ptCount val="126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</c:numCache>
            </c:numRef>
          </c:cat>
          <c:val>
            <c:numRef>
              <c:f>Sheet1!$E$155:$E$280</c:f>
              <c:numCache>
                <c:formatCode>General</c:formatCode>
                <c:ptCount val="126"/>
                <c:pt idx="84" formatCode="0">
                  <c:v>170.99474695523804</c:v>
                </c:pt>
                <c:pt idx="85" formatCode="0">
                  <c:v>165.70451323479614</c:v>
                </c:pt>
                <c:pt idx="86" formatCode="0">
                  <c:v>160.69754817955882</c:v>
                </c:pt>
                <c:pt idx="87" formatCode="0">
                  <c:v>155.93557224017411</c:v>
                </c:pt>
                <c:pt idx="88" formatCode="0">
                  <c:v>151.37264995741961</c:v>
                </c:pt>
                <c:pt idx="89" formatCode="0">
                  <c:v>147.03940497077687</c:v>
                </c:pt>
                <c:pt idx="90" formatCode="0">
                  <c:v>142.94349319011638</c:v>
                </c:pt>
                <c:pt idx="91" formatCode="0">
                  <c:v>139.07725870556766</c:v>
                </c:pt>
                <c:pt idx="92" formatCode="0">
                  <c:v>135.22633604075978</c:v>
                </c:pt>
                <c:pt idx="93" formatCode="0">
                  <c:v>131.4443165647854</c:v>
                </c:pt>
                <c:pt idx="94" formatCode="0">
                  <c:v>127.7847916467373</c:v>
                </c:pt>
                <c:pt idx="95" formatCode="0">
                  <c:v>124.27072901622672</c:v>
                </c:pt>
                <c:pt idx="96" formatCode="0">
                  <c:v>120.87150503377202</c:v>
                </c:pt>
                <c:pt idx="97" formatCode="0">
                  <c:v>117.57946378950282</c:v>
                </c:pt>
                <c:pt idx="98" formatCode="0">
                  <c:v>114.37163755380797</c:v>
                </c:pt>
                <c:pt idx="99" formatCode="0">
                  <c:v>111.23271450694666</c:v>
                </c:pt>
                <c:pt idx="100" formatCode="0">
                  <c:v>108.18566237853005</c:v>
                </c:pt>
                <c:pt idx="101" formatCode="0">
                  <c:v>105.23813707842855</c:v>
                </c:pt>
                <c:pt idx="102" formatCode="0">
                  <c:v>102.3901386066422</c:v>
                </c:pt>
                <c:pt idx="103" formatCode="0">
                  <c:v>99.618699233559767</c:v>
                </c:pt>
                <c:pt idx="104" formatCode="0">
                  <c:v>96.916163049310853</c:v>
                </c:pt>
                <c:pt idx="105" formatCode="0">
                  <c:v>94.290185963765907</c:v>
                </c:pt>
                <c:pt idx="106" formatCode="0">
                  <c:v>91.74842388679528</c:v>
                </c:pt>
                <c:pt idx="107" formatCode="0">
                  <c:v>89.283220908528591</c:v>
                </c:pt>
                <c:pt idx="108" formatCode="0">
                  <c:v>86.894577028965827</c:v>
                </c:pt>
                <c:pt idx="109" formatCode="0">
                  <c:v>84.5671804283662</c:v>
                </c:pt>
                <c:pt idx="110" formatCode="0">
                  <c:v>82.316342926470512</c:v>
                </c:pt>
                <c:pt idx="111" formatCode="0">
                  <c:v>80.126752703537989</c:v>
                </c:pt>
                <c:pt idx="112" formatCode="0">
                  <c:v>77.998409759568617</c:v>
                </c:pt>
                <c:pt idx="113" formatCode="0">
                  <c:v>75.931314094562396</c:v>
                </c:pt>
                <c:pt idx="114" formatCode="0">
                  <c:v>73.925465708519297</c:v>
                </c:pt>
                <c:pt idx="115" formatCode="0">
                  <c:v>71.973208691568971</c:v>
                </c:pt>
                <c:pt idx="116" formatCode="0">
                  <c:v>70.082198953581766</c:v>
                </c:pt>
                <c:pt idx="117" formatCode="0">
                  <c:v>68.237124674816968</c:v>
                </c:pt>
                <c:pt idx="118" formatCode="0">
                  <c:v>66.453297675015278</c:v>
                </c:pt>
                <c:pt idx="119" formatCode="0">
                  <c:v>64.715406134435952</c:v>
                </c:pt>
                <c:pt idx="120" formatCode="0">
                  <c:v>63.03110596294939</c:v>
                </c:pt>
                <c:pt idx="121" formatCode="0">
                  <c:v>61.400397160555592</c:v>
                </c:pt>
                <c:pt idx="122" formatCode="0">
                  <c:v>59.815623817384143</c:v>
                </c:pt>
                <c:pt idx="123" formatCode="0">
                  <c:v>58.27678593343505</c:v>
                </c:pt>
                <c:pt idx="124" formatCode="0">
                  <c:v>56.783883508708321</c:v>
                </c:pt>
                <c:pt idx="125" formatCode="0">
                  <c:v>55.3292606333335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14A-45E8-87A1-7BD2345ADB46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0,95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280</c:f>
              <c:numCache>
                <c:formatCode>m/d/yyyy</c:formatCode>
                <c:ptCount val="126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</c:numCache>
            </c:numRef>
          </c:cat>
          <c:val>
            <c:numRef>
              <c:f>Sheet1!$F$155:$F$280</c:f>
              <c:numCache>
                <c:formatCode>General</c:formatCode>
                <c:ptCount val="126"/>
                <c:pt idx="84" formatCode="0">
                  <c:v>170.99474695523804</c:v>
                </c:pt>
                <c:pt idx="85" formatCode="0">
                  <c:v>166.70743742781769</c:v>
                </c:pt>
                <c:pt idx="86" formatCode="0">
                  <c:v>163.26227798614065</c:v>
                </c:pt>
                <c:pt idx="87" formatCode="0">
                  <c:v>160.36068814526149</c:v>
                </c:pt>
                <c:pt idx="88" formatCode="0">
                  <c:v>157.8036142485501</c:v>
                </c:pt>
                <c:pt idx="89" formatCode="0">
                  <c:v>155.77479813289582</c:v>
                </c:pt>
                <c:pt idx="90" formatCode="0">
                  <c:v>154.36611071674341</c:v>
                </c:pt>
                <c:pt idx="91" formatCode="0">
                  <c:v>153.61583154944486</c:v>
                </c:pt>
                <c:pt idx="92" formatCode="0">
                  <c:v>152.32198278134837</c:v>
                </c:pt>
                <c:pt idx="93" formatCode="0">
                  <c:v>150.80611262701044</c:v>
                </c:pt>
                <c:pt idx="94" formatCode="0">
                  <c:v>149.32852202202454</c:v>
                </c:pt>
                <c:pt idx="95" formatCode="0">
                  <c:v>148.10357644276158</c:v>
                </c:pt>
                <c:pt idx="96" formatCode="0">
                  <c:v>147.02409315103611</c:v>
                </c:pt>
                <c:pt idx="97" formatCode="0">
                  <c:v>145.97523349879222</c:v>
                </c:pt>
                <c:pt idx="98" formatCode="0">
                  <c:v>144.84981474784436</c:v>
                </c:pt>
                <c:pt idx="99" formatCode="0">
                  <c:v>143.59424552909985</c:v>
                </c:pt>
                <c:pt idx="100" formatCode="0">
                  <c:v>142.36929994983686</c:v>
                </c:pt>
                <c:pt idx="101" formatCode="0">
                  <c:v>141.23622528901865</c:v>
                </c:pt>
                <c:pt idx="102" formatCode="0">
                  <c:v>140.17970972690432</c:v>
                </c:pt>
                <c:pt idx="103" formatCode="0">
                  <c:v>139.10788234504926</c:v>
                </c:pt>
                <c:pt idx="104" formatCode="0">
                  <c:v>138.0054313237126</c:v>
                </c:pt>
                <c:pt idx="105" formatCode="0">
                  <c:v>136.88001257276477</c:v>
                </c:pt>
                <c:pt idx="106" formatCode="0">
                  <c:v>135.76224973168732</c:v>
                </c:pt>
                <c:pt idx="107" formatCode="0">
                  <c:v>134.69807825970261</c:v>
                </c:pt>
                <c:pt idx="108" formatCode="0">
                  <c:v>133.66453042719951</c:v>
                </c:pt>
                <c:pt idx="109" formatCode="0">
                  <c:v>132.63098259469638</c:v>
                </c:pt>
                <c:pt idx="110" formatCode="0">
                  <c:v>131.58212294245249</c:v>
                </c:pt>
                <c:pt idx="111" formatCode="0">
                  <c:v>130.53326329020857</c:v>
                </c:pt>
                <c:pt idx="112" formatCode="0">
                  <c:v>129.50737136757584</c:v>
                </c:pt>
                <c:pt idx="113" formatCode="0">
                  <c:v>128.49679126468391</c:v>
                </c:pt>
                <c:pt idx="114" formatCode="0">
                  <c:v>127.50152298153277</c:v>
                </c:pt>
                <c:pt idx="115" formatCode="0">
                  <c:v>126.51391060825202</c:v>
                </c:pt>
                <c:pt idx="116" formatCode="0">
                  <c:v>125.52629823497125</c:v>
                </c:pt>
                <c:pt idx="117" formatCode="0">
                  <c:v>124.55399768143127</c:v>
                </c:pt>
                <c:pt idx="118" formatCode="0">
                  <c:v>123.5816971278913</c:v>
                </c:pt>
                <c:pt idx="119" formatCode="0">
                  <c:v>122.62470839409212</c:v>
                </c:pt>
                <c:pt idx="120" formatCode="0">
                  <c:v>121.68303148003372</c:v>
                </c:pt>
                <c:pt idx="121" formatCode="0">
                  <c:v>120.74135456597533</c:v>
                </c:pt>
                <c:pt idx="122" formatCode="0">
                  <c:v>119.80733356178732</c:v>
                </c:pt>
                <c:pt idx="123" formatCode="0">
                  <c:v>118.8809684674697</c:v>
                </c:pt>
                <c:pt idx="124" formatCode="0">
                  <c:v>117.9622592830225</c:v>
                </c:pt>
                <c:pt idx="125" formatCode="0">
                  <c:v>117.058861918316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28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5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2.5682402275193011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 - 34 let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31.1 - 6.2</c:v>
                </c:pt>
                <c:pt idx="1">
                  <c:v>7.2 - 13.2</c:v>
                </c:pt>
                <c:pt idx="2">
                  <c:v>14.2 - 20.2</c:v>
                </c:pt>
                <c:pt idx="3">
                  <c:v>21.2 - 27.2</c:v>
                </c:pt>
                <c:pt idx="4">
                  <c:v>28.2 - 6.3</c:v>
                </c:pt>
                <c:pt idx="5">
                  <c:v>7.3 - 13.3</c:v>
                </c:pt>
                <c:pt idx="6">
                  <c:v>14.3 - 20.3</c:v>
                </c:pt>
                <c:pt idx="7">
                  <c:v>21.3 - 27.3</c:v>
                </c:pt>
                <c:pt idx="8">
                  <c:v>28.3 - 3.4</c:v>
                </c:pt>
                <c:pt idx="9">
                  <c:v>4.4 - 10.4</c:v>
                </c:pt>
                <c:pt idx="10">
                  <c:v>11.4 - 17.4</c:v>
                </c:pt>
                <c:pt idx="11">
                  <c:v>18.4 - 24.4</c:v>
                </c:pt>
                <c:pt idx="12">
                  <c:v>25.4 - 1.5</c:v>
                </c:pt>
                <c:pt idx="13">
                  <c:v>2.5 - 8.5</c:v>
                </c:pt>
                <c:pt idx="14">
                  <c:v>9.5 - 15.5</c:v>
                </c:pt>
                <c:pt idx="15">
                  <c:v>16.5 - 22.5</c:v>
                </c:pt>
                <c:pt idx="16">
                  <c:v>23.5 - 29.5</c:v>
                </c:pt>
              </c:strCache>
            </c:strRef>
          </c:cat>
          <c:val>
            <c:numRef>
              <c:f>List1!$B$2:$R$2</c:f>
              <c:numCache>
                <c:formatCode>###0</c:formatCode>
                <c:ptCount val="17"/>
                <c:pt idx="0">
                  <c:v>488.62174779372089</c:v>
                </c:pt>
                <c:pt idx="1">
                  <c:v>526.6354415254774</c:v>
                </c:pt>
                <c:pt idx="2">
                  <c:v>652.28417739137001</c:v>
                </c:pt>
                <c:pt idx="3">
                  <c:v>849.5592942105867</c:v>
                </c:pt>
                <c:pt idx="4">
                  <c:v>901.21610812392873</c:v>
                </c:pt>
                <c:pt idx="5">
                  <c:v>817.32192152345317</c:v>
                </c:pt>
                <c:pt idx="6">
                  <c:v>692.82844986648513</c:v>
                </c:pt>
                <c:pt idx="7">
                  <c:v>535.38244196447772</c:v>
                </c:pt>
                <c:pt idx="8">
                  <c:v>397.0808123817921</c:v>
                </c:pt>
                <c:pt idx="9">
                  <c:v>305.20980148159913</c:v>
                </c:pt>
                <c:pt idx="10">
                  <c:v>219.7752626025574</c:v>
                </c:pt>
                <c:pt idx="11">
                  <c:v>183.02685824248022</c:v>
                </c:pt>
                <c:pt idx="12">
                  <c:v>150.62444781121457</c:v>
                </c:pt>
                <c:pt idx="13">
                  <c:v>111.40047728915613</c:v>
                </c:pt>
                <c:pt idx="14">
                  <c:v>82.518872066041581</c:v>
                </c:pt>
                <c:pt idx="15">
                  <c:v>52.041901982983553</c:v>
                </c:pt>
                <c:pt idx="16">
                  <c:v>33.8877501284544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230-405E-9EEC-CAC00A93CD0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35 - 49 let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31.1 - 6.2</c:v>
                </c:pt>
                <c:pt idx="1">
                  <c:v>7.2 - 13.2</c:v>
                </c:pt>
                <c:pt idx="2">
                  <c:v>14.2 - 20.2</c:v>
                </c:pt>
                <c:pt idx="3">
                  <c:v>21.2 - 27.2</c:v>
                </c:pt>
                <c:pt idx="4">
                  <c:v>28.2 - 6.3</c:v>
                </c:pt>
                <c:pt idx="5">
                  <c:v>7.3 - 13.3</c:v>
                </c:pt>
                <c:pt idx="6">
                  <c:v>14.3 - 20.3</c:v>
                </c:pt>
                <c:pt idx="7">
                  <c:v>21.3 - 27.3</c:v>
                </c:pt>
                <c:pt idx="8">
                  <c:v>28.3 - 3.4</c:v>
                </c:pt>
                <c:pt idx="9">
                  <c:v>4.4 - 10.4</c:v>
                </c:pt>
                <c:pt idx="10">
                  <c:v>11.4 - 17.4</c:v>
                </c:pt>
                <c:pt idx="11">
                  <c:v>18.4 - 24.4</c:v>
                </c:pt>
                <c:pt idx="12">
                  <c:v>25.4 - 1.5</c:v>
                </c:pt>
                <c:pt idx="13">
                  <c:v>2.5 - 8.5</c:v>
                </c:pt>
                <c:pt idx="14">
                  <c:v>9.5 - 15.5</c:v>
                </c:pt>
                <c:pt idx="15">
                  <c:v>16.5 - 22.5</c:v>
                </c:pt>
                <c:pt idx="16">
                  <c:v>23.5 - 29.5</c:v>
                </c:pt>
              </c:strCache>
            </c:strRef>
          </c:cat>
          <c:val>
            <c:numRef>
              <c:f>List1!$B$3:$R$3</c:f>
              <c:numCache>
                <c:formatCode>###0</c:formatCode>
                <c:ptCount val="17"/>
                <c:pt idx="0">
                  <c:v>558.03831778767847</c:v>
                </c:pt>
                <c:pt idx="1">
                  <c:v>600.85789396481152</c:v>
                </c:pt>
                <c:pt idx="2">
                  <c:v>739.51740795669105</c:v>
                </c:pt>
                <c:pt idx="3">
                  <c:v>930.287911238932</c:v>
                </c:pt>
                <c:pt idx="4">
                  <c:v>965.8720465661894</c:v>
                </c:pt>
                <c:pt idx="5">
                  <c:v>864.65495052421284</c:v>
                </c:pt>
                <c:pt idx="6">
                  <c:v>712.86884438938944</c:v>
                </c:pt>
                <c:pt idx="7">
                  <c:v>522.09834110714849</c:v>
                </c:pt>
                <c:pt idx="8">
                  <c:v>382.45037891173399</c:v>
                </c:pt>
                <c:pt idx="9">
                  <c:v>293.9249578031459</c:v>
                </c:pt>
                <c:pt idx="10">
                  <c:v>222.79622507677257</c:v>
                </c:pt>
                <c:pt idx="11">
                  <c:v>184.72120027660716</c:v>
                </c:pt>
                <c:pt idx="12">
                  <c:v>156.76788508063945</c:v>
                </c:pt>
                <c:pt idx="13">
                  <c:v>114.18553647235478</c:v>
                </c:pt>
                <c:pt idx="14">
                  <c:v>86.074069563821453</c:v>
                </c:pt>
                <c:pt idx="15">
                  <c:v>52.822671996906507</c:v>
                </c:pt>
                <c:pt idx="16">
                  <c:v>35.5841353272573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230-405E-9EEC-CAC00A93CD09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50 - 64 let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31.1 - 6.2</c:v>
                </c:pt>
                <c:pt idx="1">
                  <c:v>7.2 - 13.2</c:v>
                </c:pt>
                <c:pt idx="2">
                  <c:v>14.2 - 20.2</c:v>
                </c:pt>
                <c:pt idx="3">
                  <c:v>21.2 - 27.2</c:v>
                </c:pt>
                <c:pt idx="4">
                  <c:v>28.2 - 6.3</c:v>
                </c:pt>
                <c:pt idx="5">
                  <c:v>7.3 - 13.3</c:v>
                </c:pt>
                <c:pt idx="6">
                  <c:v>14.3 - 20.3</c:v>
                </c:pt>
                <c:pt idx="7">
                  <c:v>21.3 - 27.3</c:v>
                </c:pt>
                <c:pt idx="8">
                  <c:v>28.3 - 3.4</c:v>
                </c:pt>
                <c:pt idx="9">
                  <c:v>4.4 - 10.4</c:v>
                </c:pt>
                <c:pt idx="10">
                  <c:v>11.4 - 17.4</c:v>
                </c:pt>
                <c:pt idx="11">
                  <c:v>18.4 - 24.4</c:v>
                </c:pt>
                <c:pt idx="12">
                  <c:v>25.4 - 1.5</c:v>
                </c:pt>
                <c:pt idx="13">
                  <c:v>2.5 - 8.5</c:v>
                </c:pt>
                <c:pt idx="14">
                  <c:v>9.5 - 15.5</c:v>
                </c:pt>
                <c:pt idx="15">
                  <c:v>16.5 - 22.5</c:v>
                </c:pt>
                <c:pt idx="16">
                  <c:v>23.5 - 29.5</c:v>
                </c:pt>
              </c:strCache>
            </c:strRef>
          </c:cat>
          <c:val>
            <c:numRef>
              <c:f>List1!$B$4:$R$4</c:f>
              <c:numCache>
                <c:formatCode>###0</c:formatCode>
                <c:ptCount val="17"/>
                <c:pt idx="0">
                  <c:v>548.16010423499927</c:v>
                </c:pt>
                <c:pt idx="1">
                  <c:v>579.72663485176486</c:v>
                </c:pt>
                <c:pt idx="2">
                  <c:v>697.68577557757339</c:v>
                </c:pt>
                <c:pt idx="3">
                  <c:v>875.40483949652514</c:v>
                </c:pt>
                <c:pt idx="4">
                  <c:v>920.06115952375194</c:v>
                </c:pt>
                <c:pt idx="5">
                  <c:v>872.23308283168274</c:v>
                </c:pt>
                <c:pt idx="6">
                  <c:v>741.33518872707236</c:v>
                </c:pt>
                <c:pt idx="7">
                  <c:v>559.99126004830055</c:v>
                </c:pt>
                <c:pt idx="8">
                  <c:v>405.63243569263307</c:v>
                </c:pt>
                <c:pt idx="9">
                  <c:v>320.59914986852266</c:v>
                </c:pt>
                <c:pt idx="10">
                  <c:v>221.56985844399628</c:v>
                </c:pt>
                <c:pt idx="11">
                  <c:v>184.36464931195511</c:v>
                </c:pt>
                <c:pt idx="12">
                  <c:v>152.999500070735</c:v>
                </c:pt>
                <c:pt idx="13">
                  <c:v>113.22667840048798</c:v>
                </c:pt>
                <c:pt idx="14">
                  <c:v>76.273195987878751</c:v>
                </c:pt>
                <c:pt idx="15">
                  <c:v>47.324623253205296</c:v>
                </c:pt>
                <c:pt idx="16">
                  <c:v>25.4747440065126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230-405E-9EEC-CAC00A93CD09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  <c:pt idx="0">
                  <c:v>65 - 74 let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31.1 - 6.2</c:v>
                </c:pt>
                <c:pt idx="1">
                  <c:v>7.2 - 13.2</c:v>
                </c:pt>
                <c:pt idx="2">
                  <c:v>14.2 - 20.2</c:v>
                </c:pt>
                <c:pt idx="3">
                  <c:v>21.2 - 27.2</c:v>
                </c:pt>
                <c:pt idx="4">
                  <c:v>28.2 - 6.3</c:v>
                </c:pt>
                <c:pt idx="5">
                  <c:v>7.3 - 13.3</c:v>
                </c:pt>
                <c:pt idx="6">
                  <c:v>14.3 - 20.3</c:v>
                </c:pt>
                <c:pt idx="7">
                  <c:v>21.3 - 27.3</c:v>
                </c:pt>
                <c:pt idx="8">
                  <c:v>28.3 - 3.4</c:v>
                </c:pt>
                <c:pt idx="9">
                  <c:v>4.4 - 10.4</c:v>
                </c:pt>
                <c:pt idx="10">
                  <c:v>11.4 - 17.4</c:v>
                </c:pt>
                <c:pt idx="11">
                  <c:v>18.4 - 24.4</c:v>
                </c:pt>
                <c:pt idx="12">
                  <c:v>25.4 - 1.5</c:v>
                </c:pt>
                <c:pt idx="13">
                  <c:v>2.5 - 8.5</c:v>
                </c:pt>
                <c:pt idx="14">
                  <c:v>9.5 - 15.5</c:v>
                </c:pt>
                <c:pt idx="15">
                  <c:v>16.5 - 22.5</c:v>
                </c:pt>
                <c:pt idx="16">
                  <c:v>23.5 - 29.5</c:v>
                </c:pt>
              </c:strCache>
            </c:strRef>
          </c:cat>
          <c:val>
            <c:numRef>
              <c:f>List1!$B$5:$R$5</c:f>
              <c:numCache>
                <c:formatCode>###0</c:formatCode>
                <c:ptCount val="17"/>
                <c:pt idx="0">
                  <c:v>346.70820465447082</c:v>
                </c:pt>
                <c:pt idx="1">
                  <c:v>351.57835334861386</c:v>
                </c:pt>
                <c:pt idx="2">
                  <c:v>416.82288506062577</c:v>
                </c:pt>
                <c:pt idx="3">
                  <c:v>524.89380370208619</c:v>
                </c:pt>
                <c:pt idx="4">
                  <c:v>579.62499855055114</c:v>
                </c:pt>
                <c:pt idx="5">
                  <c:v>526.43988265260782</c:v>
                </c:pt>
                <c:pt idx="6">
                  <c:v>468.61652990309966</c:v>
                </c:pt>
                <c:pt idx="7">
                  <c:v>367.19375074888211</c:v>
                </c:pt>
                <c:pt idx="8">
                  <c:v>283.31896768308485</c:v>
                </c:pt>
                <c:pt idx="9">
                  <c:v>208.72065832041721</c:v>
                </c:pt>
                <c:pt idx="10">
                  <c:v>156.69510163536506</c:v>
                </c:pt>
                <c:pt idx="11">
                  <c:v>120.36224629810725</c:v>
                </c:pt>
                <c:pt idx="12">
                  <c:v>99.567484413591615</c:v>
                </c:pt>
                <c:pt idx="13">
                  <c:v>74.675613310193711</c:v>
                </c:pt>
                <c:pt idx="14">
                  <c:v>48.083055361222037</c:v>
                </c:pt>
                <c:pt idx="15">
                  <c:v>25.742214526184789</c:v>
                </c:pt>
                <c:pt idx="16">
                  <c:v>15.8473092428464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230-405E-9EEC-CAC00A93CD09}"/>
            </c:ext>
          </c:extLst>
        </c:ser>
        <c:ser>
          <c:idx val="4"/>
          <c:order val="4"/>
          <c:tx>
            <c:strRef>
              <c:f>List1!$A$6</c:f>
              <c:strCache>
                <c:ptCount val="1"/>
                <c:pt idx="0">
                  <c:v>75+ let</c:v>
                </c:pt>
              </c:strCache>
            </c:strRef>
          </c:tx>
          <c:spPr>
            <a:ln w="28575" cap="rnd">
              <a:solidFill>
                <a:schemeClr val="bg1">
                  <a:lumMod val="65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31.1 - 6.2</c:v>
                </c:pt>
                <c:pt idx="1">
                  <c:v>7.2 - 13.2</c:v>
                </c:pt>
                <c:pt idx="2">
                  <c:v>14.2 - 20.2</c:v>
                </c:pt>
                <c:pt idx="3">
                  <c:v>21.2 - 27.2</c:v>
                </c:pt>
                <c:pt idx="4">
                  <c:v>28.2 - 6.3</c:v>
                </c:pt>
                <c:pt idx="5">
                  <c:v>7.3 - 13.3</c:v>
                </c:pt>
                <c:pt idx="6">
                  <c:v>14.3 - 20.3</c:v>
                </c:pt>
                <c:pt idx="7">
                  <c:v>21.3 - 27.3</c:v>
                </c:pt>
                <c:pt idx="8">
                  <c:v>28.3 - 3.4</c:v>
                </c:pt>
                <c:pt idx="9">
                  <c:v>4.4 - 10.4</c:v>
                </c:pt>
                <c:pt idx="10">
                  <c:v>11.4 - 17.4</c:v>
                </c:pt>
                <c:pt idx="11">
                  <c:v>18.4 - 24.4</c:v>
                </c:pt>
                <c:pt idx="12">
                  <c:v>25.4 - 1.5</c:v>
                </c:pt>
                <c:pt idx="13">
                  <c:v>2.5 - 8.5</c:v>
                </c:pt>
                <c:pt idx="14">
                  <c:v>9.5 - 15.5</c:v>
                </c:pt>
                <c:pt idx="15">
                  <c:v>16.5 - 22.5</c:v>
                </c:pt>
                <c:pt idx="16">
                  <c:v>23.5 - 29.5</c:v>
                </c:pt>
              </c:strCache>
            </c:strRef>
          </c:cat>
          <c:val>
            <c:numRef>
              <c:f>List1!$B$6:$R$6</c:f>
              <c:numCache>
                <c:formatCode>###0</c:formatCode>
                <c:ptCount val="17"/>
                <c:pt idx="0">
                  <c:v>410.07161797885323</c:v>
                </c:pt>
                <c:pt idx="1">
                  <c:v>383.24234122445563</c:v>
                </c:pt>
                <c:pt idx="2">
                  <c:v>444.9959351332846</c:v>
                </c:pt>
                <c:pt idx="3">
                  <c:v>532.76930175650784</c:v>
                </c:pt>
                <c:pt idx="4">
                  <c:v>557.17006639089527</c:v>
                </c:pt>
                <c:pt idx="5">
                  <c:v>489.63430076775649</c:v>
                </c:pt>
                <c:pt idx="6">
                  <c:v>439.56069372183333</c:v>
                </c:pt>
                <c:pt idx="7">
                  <c:v>340.80120084142146</c:v>
                </c:pt>
                <c:pt idx="8">
                  <c:v>252.21833017819483</c:v>
                </c:pt>
                <c:pt idx="9">
                  <c:v>182.02276556647348</c:v>
                </c:pt>
                <c:pt idx="10">
                  <c:v>144.66993629203196</c:v>
                </c:pt>
                <c:pt idx="11">
                  <c:v>98.181275708980934</c:v>
                </c:pt>
                <c:pt idx="12">
                  <c:v>80.372186828906649</c:v>
                </c:pt>
                <c:pt idx="13">
                  <c:v>54.699344417371002</c:v>
                </c:pt>
                <c:pt idx="14">
                  <c:v>37.237185840155313</c:v>
                </c:pt>
                <c:pt idx="15">
                  <c:v>28.216997965831975</c:v>
                </c:pt>
                <c:pt idx="16">
                  <c:v>16.9995848400709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230-405E-9EEC-CAC00A93CD09}"/>
            </c:ext>
          </c:extLst>
        </c:ser>
        <c:ser>
          <c:idx val="5"/>
          <c:order val="5"/>
          <c:tx>
            <c:strRef>
              <c:f>List1!$A$7</c:f>
              <c:strCache>
                <c:ptCount val="1"/>
                <c:pt idx="0">
                  <c:v>Celá populace ČR</c:v>
                </c:pt>
              </c:strCache>
            </c:strRef>
          </c:tx>
          <c:spPr>
            <a:ln w="28575" cap="rnd">
              <a:solidFill>
                <a:schemeClr val="tx1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31.1 - 6.2</c:v>
                </c:pt>
                <c:pt idx="1">
                  <c:v>7.2 - 13.2</c:v>
                </c:pt>
                <c:pt idx="2">
                  <c:v>14.2 - 20.2</c:v>
                </c:pt>
                <c:pt idx="3">
                  <c:v>21.2 - 27.2</c:v>
                </c:pt>
                <c:pt idx="4">
                  <c:v>28.2 - 6.3</c:v>
                </c:pt>
                <c:pt idx="5">
                  <c:v>7.3 - 13.3</c:v>
                </c:pt>
                <c:pt idx="6">
                  <c:v>14.3 - 20.3</c:v>
                </c:pt>
                <c:pt idx="7">
                  <c:v>21.3 - 27.3</c:v>
                </c:pt>
                <c:pt idx="8">
                  <c:v>28.3 - 3.4</c:v>
                </c:pt>
                <c:pt idx="9">
                  <c:v>4.4 - 10.4</c:v>
                </c:pt>
                <c:pt idx="10">
                  <c:v>11.4 - 17.4</c:v>
                </c:pt>
                <c:pt idx="11">
                  <c:v>18.4 - 24.4</c:v>
                </c:pt>
                <c:pt idx="12">
                  <c:v>25.4 - 1.5</c:v>
                </c:pt>
                <c:pt idx="13">
                  <c:v>2.5 - 8.5</c:v>
                </c:pt>
                <c:pt idx="14">
                  <c:v>9.5 - 15.5</c:v>
                </c:pt>
                <c:pt idx="15">
                  <c:v>16.5 - 22.5</c:v>
                </c:pt>
                <c:pt idx="16">
                  <c:v>23.5 - 29.5</c:v>
                </c:pt>
              </c:strCache>
            </c:strRef>
          </c:cat>
          <c:val>
            <c:numRef>
              <c:f>List1!$B$7:$R$7</c:f>
              <c:numCache>
                <c:formatCode>###0</c:formatCode>
                <c:ptCount val="17"/>
                <c:pt idx="0">
                  <c:v>468.64179659135107</c:v>
                </c:pt>
                <c:pt idx="1">
                  <c:v>495.5719036193708</c:v>
                </c:pt>
                <c:pt idx="2">
                  <c:v>608.23543604020142</c:v>
                </c:pt>
                <c:pt idx="3">
                  <c:v>768.92837516610541</c:v>
                </c:pt>
                <c:pt idx="4">
                  <c:v>802.38076349376354</c:v>
                </c:pt>
                <c:pt idx="5">
                  <c:v>725.88879398253198</c:v>
                </c:pt>
                <c:pt idx="6">
                  <c:v>615.23427370987065</c:v>
                </c:pt>
                <c:pt idx="7">
                  <c:v>467.64196263854114</c:v>
                </c:pt>
                <c:pt idx="8">
                  <c:v>343.9428797666032</c:v>
                </c:pt>
                <c:pt idx="9">
                  <c:v>264.23649081830052</c:v>
                </c:pt>
                <c:pt idx="10">
                  <c:v>202.21875301643826</c:v>
                </c:pt>
                <c:pt idx="11">
                  <c:v>163.29063855469983</c:v>
                </c:pt>
                <c:pt idx="12">
                  <c:v>137.29495578164259</c:v>
                </c:pt>
                <c:pt idx="13">
                  <c:v>102.2820789481971</c:v>
                </c:pt>
                <c:pt idx="14">
                  <c:v>72.4365682446943</c:v>
                </c:pt>
                <c:pt idx="15">
                  <c:v>47.123015177759726</c:v>
                </c:pt>
                <c:pt idx="16">
                  <c:v>30.5743616223735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EBB-4442-9D6E-7DAB86DA9E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  <c:max val="12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5809610965008587"/>
          <c:y val="0.27545860500728103"/>
          <c:w val="0.14190389034991419"/>
          <c:h val="0.4944791082477983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v>65+</c:v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05</c:f>
              <c:numCache>
                <c:formatCode>m/d/yyyy</c:formatCode>
                <c:ptCount val="204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</c:numCache>
            </c:numRef>
          </c:cat>
          <c:val>
            <c:numRef>
              <c:f>Sheet1!$B$2:$B$205</c:f>
              <c:numCache>
                <c:formatCode>General</c:formatCode>
                <c:ptCount val="204"/>
                <c:pt idx="0">
                  <c:v>1202</c:v>
                </c:pt>
                <c:pt idx="1">
                  <c:v>1438</c:v>
                </c:pt>
                <c:pt idx="2">
                  <c:v>1432</c:v>
                </c:pt>
                <c:pt idx="3">
                  <c:v>1328</c:v>
                </c:pt>
                <c:pt idx="4">
                  <c:v>1411</c:v>
                </c:pt>
                <c:pt idx="5">
                  <c:v>771</c:v>
                </c:pt>
                <c:pt idx="6">
                  <c:v>448</c:v>
                </c:pt>
                <c:pt idx="7">
                  <c:v>1122</c:v>
                </c:pt>
                <c:pt idx="8">
                  <c:v>1466</c:v>
                </c:pt>
                <c:pt idx="9">
                  <c:v>1383</c:v>
                </c:pt>
                <c:pt idx="10">
                  <c:v>1387</c:v>
                </c:pt>
                <c:pt idx="11">
                  <c:v>1328</c:v>
                </c:pt>
                <c:pt idx="12">
                  <c:v>728</c:v>
                </c:pt>
                <c:pt idx="13">
                  <c:v>457</c:v>
                </c:pt>
                <c:pt idx="14">
                  <c:v>1302</c:v>
                </c:pt>
                <c:pt idx="15">
                  <c:v>1760</c:v>
                </c:pt>
                <c:pt idx="16">
                  <c:v>1459</c:v>
                </c:pt>
                <c:pt idx="17">
                  <c:v>1600</c:v>
                </c:pt>
                <c:pt idx="18">
                  <c:v>1717</c:v>
                </c:pt>
                <c:pt idx="19">
                  <c:v>945</c:v>
                </c:pt>
                <c:pt idx="20">
                  <c:v>581</c:v>
                </c:pt>
                <c:pt idx="21">
                  <c:v>1632</c:v>
                </c:pt>
                <c:pt idx="22">
                  <c:v>2109</c:v>
                </c:pt>
                <c:pt idx="23">
                  <c:v>1924</c:v>
                </c:pt>
                <c:pt idx="24">
                  <c:v>2007</c:v>
                </c:pt>
                <c:pt idx="25">
                  <c:v>2093</c:v>
                </c:pt>
                <c:pt idx="26">
                  <c:v>1051</c:v>
                </c:pt>
                <c:pt idx="27">
                  <c:v>657</c:v>
                </c:pt>
                <c:pt idx="28">
                  <c:v>1851</c:v>
                </c:pt>
                <c:pt idx="29">
                  <c:v>2399</c:v>
                </c:pt>
                <c:pt idx="30">
                  <c:v>2167</c:v>
                </c:pt>
                <c:pt idx="31">
                  <c:v>2054</c:v>
                </c:pt>
                <c:pt idx="32">
                  <c:v>1877</c:v>
                </c:pt>
                <c:pt idx="33">
                  <c:v>1311</c:v>
                </c:pt>
                <c:pt idx="34">
                  <c:v>645</c:v>
                </c:pt>
                <c:pt idx="35">
                  <c:v>1543</c:v>
                </c:pt>
                <c:pt idx="36">
                  <c:v>1983</c:v>
                </c:pt>
                <c:pt idx="37">
                  <c:v>2017</c:v>
                </c:pt>
                <c:pt idx="38">
                  <c:v>1628</c:v>
                </c:pt>
                <c:pt idx="39">
                  <c:v>2249</c:v>
                </c:pt>
                <c:pt idx="40">
                  <c:v>979</c:v>
                </c:pt>
                <c:pt idx="41">
                  <c:v>542</c:v>
                </c:pt>
                <c:pt idx="42">
                  <c:v>1624</c:v>
                </c:pt>
                <c:pt idx="43">
                  <c:v>2051</c:v>
                </c:pt>
                <c:pt idx="44">
                  <c:v>1787</c:v>
                </c:pt>
                <c:pt idx="45">
                  <c:v>1586</c:v>
                </c:pt>
                <c:pt idx="46">
                  <c:v>1430</c:v>
                </c:pt>
                <c:pt idx="47">
                  <c:v>843</c:v>
                </c:pt>
                <c:pt idx="48">
                  <c:v>440</c:v>
                </c:pt>
                <c:pt idx="49">
                  <c:v>1211</c:v>
                </c:pt>
                <c:pt idx="50">
                  <c:v>1621</c:v>
                </c:pt>
                <c:pt idx="51">
                  <c:v>1320</c:v>
                </c:pt>
                <c:pt idx="52">
                  <c:v>1288</c:v>
                </c:pt>
                <c:pt idx="53">
                  <c:v>1176</c:v>
                </c:pt>
                <c:pt idx="54">
                  <c:v>641</c:v>
                </c:pt>
                <c:pt idx="55">
                  <c:v>326</c:v>
                </c:pt>
                <c:pt idx="56">
                  <c:v>1117</c:v>
                </c:pt>
                <c:pt idx="57">
                  <c:v>1294</c:v>
                </c:pt>
                <c:pt idx="58">
                  <c:v>1193</c:v>
                </c:pt>
                <c:pt idx="59">
                  <c:v>989</c:v>
                </c:pt>
                <c:pt idx="60">
                  <c:v>550</c:v>
                </c:pt>
                <c:pt idx="61">
                  <c:v>377</c:v>
                </c:pt>
                <c:pt idx="62">
                  <c:v>327</c:v>
                </c:pt>
                <c:pt idx="63">
                  <c:v>290</c:v>
                </c:pt>
                <c:pt idx="64">
                  <c:v>816</c:v>
                </c:pt>
                <c:pt idx="65">
                  <c:v>980</c:v>
                </c:pt>
                <c:pt idx="66">
                  <c:v>782</c:v>
                </c:pt>
                <c:pt idx="67">
                  <c:v>716</c:v>
                </c:pt>
                <c:pt idx="68">
                  <c:v>363</c:v>
                </c:pt>
                <c:pt idx="69">
                  <c:v>202</c:v>
                </c:pt>
                <c:pt idx="70">
                  <c:v>578</c:v>
                </c:pt>
                <c:pt idx="71">
                  <c:v>691</c:v>
                </c:pt>
                <c:pt idx="72">
                  <c:v>581</c:v>
                </c:pt>
                <c:pt idx="73">
                  <c:v>468</c:v>
                </c:pt>
                <c:pt idx="74">
                  <c:v>513</c:v>
                </c:pt>
                <c:pt idx="75">
                  <c:v>245</c:v>
                </c:pt>
                <c:pt idx="76">
                  <c:v>144</c:v>
                </c:pt>
                <c:pt idx="77">
                  <c:v>469</c:v>
                </c:pt>
                <c:pt idx="78">
                  <c:v>490</c:v>
                </c:pt>
                <c:pt idx="79">
                  <c:v>412</c:v>
                </c:pt>
                <c:pt idx="80">
                  <c:v>400</c:v>
                </c:pt>
                <c:pt idx="81">
                  <c:v>335</c:v>
                </c:pt>
                <c:pt idx="82">
                  <c:v>156</c:v>
                </c:pt>
                <c:pt idx="83">
                  <c:v>120</c:v>
                </c:pt>
                <c:pt idx="84">
                  <c:v>371</c:v>
                </c:pt>
                <c:pt idx="85">
                  <c:v>384</c:v>
                </c:pt>
                <c:pt idx="86">
                  <c:v>330</c:v>
                </c:pt>
                <c:pt idx="87">
                  <c:v>302</c:v>
                </c:pt>
                <c:pt idx="88">
                  <c:v>304</c:v>
                </c:pt>
                <c:pt idx="89">
                  <c:v>172</c:v>
                </c:pt>
                <c:pt idx="90">
                  <c:v>86</c:v>
                </c:pt>
                <c:pt idx="91">
                  <c:v>299</c:v>
                </c:pt>
                <c:pt idx="92">
                  <c:v>310</c:v>
                </c:pt>
                <c:pt idx="93">
                  <c:v>251</c:v>
                </c:pt>
                <c:pt idx="94">
                  <c:v>223</c:v>
                </c:pt>
                <c:pt idx="95">
                  <c:v>179</c:v>
                </c:pt>
                <c:pt idx="96">
                  <c:v>91</c:v>
                </c:pt>
                <c:pt idx="97">
                  <c:v>56</c:v>
                </c:pt>
                <c:pt idx="98">
                  <c:v>214</c:v>
                </c:pt>
                <c:pt idx="99">
                  <c:v>184</c:v>
                </c:pt>
                <c:pt idx="100">
                  <c:v>133</c:v>
                </c:pt>
                <c:pt idx="101">
                  <c:v>155</c:v>
                </c:pt>
                <c:pt idx="102">
                  <c:v>132</c:v>
                </c:pt>
                <c:pt idx="103">
                  <c:v>70</c:v>
                </c:pt>
                <c:pt idx="104">
                  <c:v>29</c:v>
                </c:pt>
                <c:pt idx="105">
                  <c:v>118</c:v>
                </c:pt>
                <c:pt idx="106">
                  <c:v>139</c:v>
                </c:pt>
                <c:pt idx="107">
                  <c:v>92</c:v>
                </c:pt>
                <c:pt idx="108">
                  <c:v>91</c:v>
                </c:pt>
                <c:pt idx="109">
                  <c:v>76</c:v>
                </c:pt>
                <c:pt idx="110">
                  <c:v>32</c:v>
                </c:pt>
                <c:pt idx="111">
                  <c:v>19</c:v>
                </c:pt>
                <c:pt idx="112">
                  <c:v>68</c:v>
                </c:pt>
                <c:pt idx="113">
                  <c:v>79</c:v>
                </c:pt>
                <c:pt idx="114">
                  <c:v>59</c:v>
                </c:pt>
                <c:pt idx="115">
                  <c:v>48</c:v>
                </c:pt>
                <c:pt idx="116">
                  <c:v>60</c:v>
                </c:pt>
                <c:pt idx="117">
                  <c:v>19</c:v>
                </c:pt>
                <c:pt idx="118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797-43C7-9991-CE5FC56840D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ax val="45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v>75+</c:v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05</c:f>
              <c:numCache>
                <c:formatCode>m/d/yyyy</c:formatCode>
                <c:ptCount val="204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</c:numCache>
            </c:numRef>
          </c:cat>
          <c:val>
            <c:numRef>
              <c:f>Sheet1!$B$2:$B$205</c:f>
              <c:numCache>
                <c:formatCode>General</c:formatCode>
                <c:ptCount val="204"/>
                <c:pt idx="0">
                  <c:v>521</c:v>
                </c:pt>
                <c:pt idx="1">
                  <c:v>627</c:v>
                </c:pt>
                <c:pt idx="2">
                  <c:v>615</c:v>
                </c:pt>
                <c:pt idx="3">
                  <c:v>605</c:v>
                </c:pt>
                <c:pt idx="4">
                  <c:v>608</c:v>
                </c:pt>
                <c:pt idx="5">
                  <c:v>359</c:v>
                </c:pt>
                <c:pt idx="6">
                  <c:v>210</c:v>
                </c:pt>
                <c:pt idx="7">
                  <c:v>455</c:v>
                </c:pt>
                <c:pt idx="8">
                  <c:v>657</c:v>
                </c:pt>
                <c:pt idx="9">
                  <c:v>553</c:v>
                </c:pt>
                <c:pt idx="10">
                  <c:v>580</c:v>
                </c:pt>
                <c:pt idx="11">
                  <c:v>566</c:v>
                </c:pt>
                <c:pt idx="12">
                  <c:v>293</c:v>
                </c:pt>
                <c:pt idx="13">
                  <c:v>208</c:v>
                </c:pt>
                <c:pt idx="14">
                  <c:v>556</c:v>
                </c:pt>
                <c:pt idx="15">
                  <c:v>718</c:v>
                </c:pt>
                <c:pt idx="16">
                  <c:v>601</c:v>
                </c:pt>
                <c:pt idx="17">
                  <c:v>646</c:v>
                </c:pt>
                <c:pt idx="18">
                  <c:v>741</c:v>
                </c:pt>
                <c:pt idx="19">
                  <c:v>378</c:v>
                </c:pt>
                <c:pt idx="20">
                  <c:v>285</c:v>
                </c:pt>
                <c:pt idx="21">
                  <c:v>697</c:v>
                </c:pt>
                <c:pt idx="22">
                  <c:v>847</c:v>
                </c:pt>
                <c:pt idx="23">
                  <c:v>752</c:v>
                </c:pt>
                <c:pt idx="24">
                  <c:v>807</c:v>
                </c:pt>
                <c:pt idx="25">
                  <c:v>810</c:v>
                </c:pt>
                <c:pt idx="26">
                  <c:v>409</c:v>
                </c:pt>
                <c:pt idx="27">
                  <c:v>283</c:v>
                </c:pt>
                <c:pt idx="28">
                  <c:v>773</c:v>
                </c:pt>
                <c:pt idx="29">
                  <c:v>917</c:v>
                </c:pt>
                <c:pt idx="30">
                  <c:v>853</c:v>
                </c:pt>
                <c:pt idx="31">
                  <c:v>747</c:v>
                </c:pt>
                <c:pt idx="32">
                  <c:v>713</c:v>
                </c:pt>
                <c:pt idx="33">
                  <c:v>532</c:v>
                </c:pt>
                <c:pt idx="34">
                  <c:v>294</c:v>
                </c:pt>
                <c:pt idx="35">
                  <c:v>586</c:v>
                </c:pt>
                <c:pt idx="36">
                  <c:v>736</c:v>
                </c:pt>
                <c:pt idx="37">
                  <c:v>752</c:v>
                </c:pt>
                <c:pt idx="38">
                  <c:v>640</c:v>
                </c:pt>
                <c:pt idx="39">
                  <c:v>854</c:v>
                </c:pt>
                <c:pt idx="40">
                  <c:v>372</c:v>
                </c:pt>
                <c:pt idx="41">
                  <c:v>220</c:v>
                </c:pt>
                <c:pt idx="42">
                  <c:v>663</c:v>
                </c:pt>
                <c:pt idx="43">
                  <c:v>766</c:v>
                </c:pt>
                <c:pt idx="44">
                  <c:v>673</c:v>
                </c:pt>
                <c:pt idx="45">
                  <c:v>601</c:v>
                </c:pt>
                <c:pt idx="46">
                  <c:v>526</c:v>
                </c:pt>
                <c:pt idx="47">
                  <c:v>352</c:v>
                </c:pt>
                <c:pt idx="48">
                  <c:v>193</c:v>
                </c:pt>
                <c:pt idx="49">
                  <c:v>462</c:v>
                </c:pt>
                <c:pt idx="50">
                  <c:v>618</c:v>
                </c:pt>
                <c:pt idx="51">
                  <c:v>486</c:v>
                </c:pt>
                <c:pt idx="52">
                  <c:v>482</c:v>
                </c:pt>
                <c:pt idx="53">
                  <c:v>439</c:v>
                </c:pt>
                <c:pt idx="54">
                  <c:v>267</c:v>
                </c:pt>
                <c:pt idx="55">
                  <c:v>132</c:v>
                </c:pt>
                <c:pt idx="56">
                  <c:v>427</c:v>
                </c:pt>
                <c:pt idx="57">
                  <c:v>466</c:v>
                </c:pt>
                <c:pt idx="58">
                  <c:v>429</c:v>
                </c:pt>
                <c:pt idx="59">
                  <c:v>360</c:v>
                </c:pt>
                <c:pt idx="60">
                  <c:v>216</c:v>
                </c:pt>
                <c:pt idx="61">
                  <c:v>151</c:v>
                </c:pt>
                <c:pt idx="62">
                  <c:v>150</c:v>
                </c:pt>
                <c:pt idx="63">
                  <c:v>129</c:v>
                </c:pt>
                <c:pt idx="64">
                  <c:v>305</c:v>
                </c:pt>
                <c:pt idx="65">
                  <c:v>307</c:v>
                </c:pt>
                <c:pt idx="66">
                  <c:v>278</c:v>
                </c:pt>
                <c:pt idx="67">
                  <c:v>274</c:v>
                </c:pt>
                <c:pt idx="68">
                  <c:v>131</c:v>
                </c:pt>
                <c:pt idx="69">
                  <c:v>81</c:v>
                </c:pt>
                <c:pt idx="70">
                  <c:v>215</c:v>
                </c:pt>
                <c:pt idx="71">
                  <c:v>245</c:v>
                </c:pt>
                <c:pt idx="72">
                  <c:v>233</c:v>
                </c:pt>
                <c:pt idx="73">
                  <c:v>195</c:v>
                </c:pt>
                <c:pt idx="74">
                  <c:v>193</c:v>
                </c:pt>
                <c:pt idx="75">
                  <c:v>89</c:v>
                </c:pt>
                <c:pt idx="76">
                  <c:v>64</c:v>
                </c:pt>
                <c:pt idx="77">
                  <c:v>170</c:v>
                </c:pt>
                <c:pt idx="78">
                  <c:v>169</c:v>
                </c:pt>
                <c:pt idx="79">
                  <c:v>145</c:v>
                </c:pt>
                <c:pt idx="80">
                  <c:v>148</c:v>
                </c:pt>
                <c:pt idx="81">
                  <c:v>100</c:v>
                </c:pt>
                <c:pt idx="82">
                  <c:v>53</c:v>
                </c:pt>
                <c:pt idx="83">
                  <c:v>48</c:v>
                </c:pt>
                <c:pt idx="84">
                  <c:v>137</c:v>
                </c:pt>
                <c:pt idx="85">
                  <c:v>145</c:v>
                </c:pt>
                <c:pt idx="86">
                  <c:v>108</c:v>
                </c:pt>
                <c:pt idx="87">
                  <c:v>91</c:v>
                </c:pt>
                <c:pt idx="88">
                  <c:v>101</c:v>
                </c:pt>
                <c:pt idx="89">
                  <c:v>65</c:v>
                </c:pt>
                <c:pt idx="90">
                  <c:v>38</c:v>
                </c:pt>
                <c:pt idx="91">
                  <c:v>88</c:v>
                </c:pt>
                <c:pt idx="92">
                  <c:v>93</c:v>
                </c:pt>
                <c:pt idx="93">
                  <c:v>84</c:v>
                </c:pt>
                <c:pt idx="94">
                  <c:v>79</c:v>
                </c:pt>
                <c:pt idx="95">
                  <c:v>59</c:v>
                </c:pt>
                <c:pt idx="96">
                  <c:v>32</c:v>
                </c:pt>
                <c:pt idx="97">
                  <c:v>22</c:v>
                </c:pt>
                <c:pt idx="98">
                  <c:v>84</c:v>
                </c:pt>
                <c:pt idx="99">
                  <c:v>58</c:v>
                </c:pt>
                <c:pt idx="100">
                  <c:v>38</c:v>
                </c:pt>
                <c:pt idx="101">
                  <c:v>50</c:v>
                </c:pt>
                <c:pt idx="102">
                  <c:v>45</c:v>
                </c:pt>
                <c:pt idx="103">
                  <c:v>25</c:v>
                </c:pt>
                <c:pt idx="104">
                  <c:v>11</c:v>
                </c:pt>
                <c:pt idx="105">
                  <c:v>46</c:v>
                </c:pt>
                <c:pt idx="106">
                  <c:v>53</c:v>
                </c:pt>
                <c:pt idx="107">
                  <c:v>45</c:v>
                </c:pt>
                <c:pt idx="108">
                  <c:v>43</c:v>
                </c:pt>
                <c:pt idx="109">
                  <c:v>30</c:v>
                </c:pt>
                <c:pt idx="110">
                  <c:v>16</c:v>
                </c:pt>
                <c:pt idx="111">
                  <c:v>9</c:v>
                </c:pt>
                <c:pt idx="112">
                  <c:v>28</c:v>
                </c:pt>
                <c:pt idx="113">
                  <c:v>34</c:v>
                </c:pt>
                <c:pt idx="114">
                  <c:v>29</c:v>
                </c:pt>
                <c:pt idx="115">
                  <c:v>21</c:v>
                </c:pt>
                <c:pt idx="116">
                  <c:v>18</c:v>
                </c:pt>
                <c:pt idx="117">
                  <c:v>8</c:v>
                </c:pt>
                <c:pt idx="118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9B6-4B58-97BF-AF3BB1F8F72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ax val="22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4"/>
          <c:tx>
            <c:v>Počet hospitalizací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CU$7</c:f>
              <c:numCache>
                <c:formatCode>General</c:formatCode>
                <c:ptCount val="98"/>
                <c:pt idx="0">
                  <c:v>7191</c:v>
                </c:pt>
                <c:pt idx="1">
                  <c:v>6363</c:v>
                </c:pt>
                <c:pt idx="2">
                  <c:v>6214</c:v>
                </c:pt>
                <c:pt idx="3">
                  <c:v>6311</c:v>
                </c:pt>
                <c:pt idx="4">
                  <c:v>6378</c:v>
                </c:pt>
                <c:pt idx="5">
                  <c:v>7052</c:v>
                </c:pt>
                <c:pt idx="6">
                  <c:v>6697</c:v>
                </c:pt>
                <c:pt idx="7">
                  <c:v>6223</c:v>
                </c:pt>
                <c:pt idx="8">
                  <c:v>5906</c:v>
                </c:pt>
                <c:pt idx="9">
                  <c:v>5267</c:v>
                </c:pt>
                <c:pt idx="10">
                  <c:v>5221</c:v>
                </c:pt>
                <c:pt idx="11">
                  <c:v>5515</c:v>
                </c:pt>
                <c:pt idx="12">
                  <c:v>5209</c:v>
                </c:pt>
                <c:pt idx="13">
                  <c:v>4907</c:v>
                </c:pt>
                <c:pt idx="14">
                  <c:v>4650</c:v>
                </c:pt>
                <c:pt idx="15">
                  <c:v>4403</c:v>
                </c:pt>
                <c:pt idx="16">
                  <c:v>4008</c:v>
                </c:pt>
                <c:pt idx="17">
                  <c:v>4016</c:v>
                </c:pt>
                <c:pt idx="18">
                  <c:v>4288</c:v>
                </c:pt>
                <c:pt idx="19">
                  <c:v>4121</c:v>
                </c:pt>
                <c:pt idx="20">
                  <c:v>3961</c:v>
                </c:pt>
                <c:pt idx="21">
                  <c:v>3724</c:v>
                </c:pt>
                <c:pt idx="22">
                  <c:v>3510</c:v>
                </c:pt>
                <c:pt idx="23">
                  <c:v>3164</c:v>
                </c:pt>
                <c:pt idx="24">
                  <c:v>3157</c:v>
                </c:pt>
                <c:pt idx="25">
                  <c:v>3308</c:v>
                </c:pt>
                <c:pt idx="26">
                  <c:v>3138</c:v>
                </c:pt>
                <c:pt idx="27">
                  <c:v>2989</c:v>
                </c:pt>
                <c:pt idx="28">
                  <c:v>2823</c:v>
                </c:pt>
                <c:pt idx="29">
                  <c:v>2664</c:v>
                </c:pt>
                <c:pt idx="30">
                  <c:v>2453</c:v>
                </c:pt>
                <c:pt idx="31">
                  <c:v>2479</c:v>
                </c:pt>
                <c:pt idx="32">
                  <c:v>2669</c:v>
                </c:pt>
                <c:pt idx="33">
                  <c:v>2519</c:v>
                </c:pt>
                <c:pt idx="34">
                  <c:v>2345</c:v>
                </c:pt>
                <c:pt idx="35">
                  <c:v>2211</c:v>
                </c:pt>
                <c:pt idx="36">
                  <c:v>2117</c:v>
                </c:pt>
                <c:pt idx="37">
                  <c:v>1879</c:v>
                </c:pt>
                <c:pt idx="38">
                  <c:v>1860</c:v>
                </c:pt>
                <c:pt idx="39">
                  <c:v>1976</c:v>
                </c:pt>
                <c:pt idx="40">
                  <c:v>1819</c:v>
                </c:pt>
                <c:pt idx="41">
                  <c:v>1707</c:v>
                </c:pt>
                <c:pt idx="42">
                  <c:v>1609</c:v>
                </c:pt>
                <c:pt idx="43">
                  <c:v>1520</c:v>
                </c:pt>
                <c:pt idx="44">
                  <c:v>1323</c:v>
                </c:pt>
                <c:pt idx="45">
                  <c:v>1309</c:v>
                </c:pt>
                <c:pt idx="46">
                  <c:v>1388</c:v>
                </c:pt>
                <c:pt idx="47">
                  <c:v>1252</c:v>
                </c:pt>
                <c:pt idx="48">
                  <c:v>1146</c:v>
                </c:pt>
                <c:pt idx="49">
                  <c:v>1055</c:v>
                </c:pt>
                <c:pt idx="50">
                  <c:v>1012</c:v>
                </c:pt>
                <c:pt idx="51">
                  <c:v>863</c:v>
                </c:pt>
                <c:pt idx="52">
                  <c:v>849</c:v>
                </c:pt>
                <c:pt idx="53">
                  <c:v>877</c:v>
                </c:pt>
                <c:pt idx="54">
                  <c:v>783</c:v>
                </c:pt>
                <c:pt idx="55">
                  <c:v>761</c:v>
                </c:pt>
                <c:pt idx="56">
                  <c:v>665</c:v>
                </c:pt>
                <c:pt idx="57">
                  <c:v>611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8F8-4AB8-A8EE-CBCC174D4D3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CU$2</c:f>
              <c:numCache>
                <c:formatCode>General</c:formatCode>
                <c:ptCount val="98"/>
                <c:pt idx="26">
                  <c:v>3204.5717560709104</c:v>
                </c:pt>
                <c:pt idx="27">
                  <c:v>3077.2196704219209</c:v>
                </c:pt>
                <c:pt idx="28">
                  <c:v>2955.5862714490099</c:v>
                </c:pt>
                <c:pt idx="29">
                  <c:v>2839.9348319144869</c:v>
                </c:pt>
                <c:pt idx="30">
                  <c:v>2732.10346607876</c:v>
                </c:pt>
                <c:pt idx="31">
                  <c:v>2633.35246177112</c:v>
                </c:pt>
                <c:pt idx="32">
                  <c:v>2540.551752215013</c:v>
                </c:pt>
                <c:pt idx="33">
                  <c:v>2449.1740378228578</c:v>
                </c:pt>
                <c:pt idx="34">
                  <c:v>2360.1849273521534</c:v>
                </c:pt>
                <c:pt idx="35">
                  <c:v>2275.2511719849117</c:v>
                </c:pt>
                <c:pt idx="36">
                  <c:v>2194.258388786292</c:v>
                </c:pt>
                <c:pt idx="37">
                  <c:v>2116.6627351154493</c:v>
                </c:pt>
                <c:pt idx="38">
                  <c:v>2042.9515595872015</c:v>
                </c:pt>
                <c:pt idx="39">
                  <c:v>1970.2953493518871</c:v>
                </c:pt>
                <c:pt idx="40">
                  <c:v>1897.0634869541934</c:v>
                </c:pt>
                <c:pt idx="41">
                  <c:v>1824.9247351924553</c:v>
                </c:pt>
                <c:pt idx="42">
                  <c:v>1754.7907487117839</c:v>
                </c:pt>
                <c:pt idx="43">
                  <c:v>1686.7083421517348</c:v>
                </c:pt>
                <c:pt idx="44">
                  <c:v>1620.6067054011924</c:v>
                </c:pt>
                <c:pt idx="45">
                  <c:v>1556.6621162826546</c:v>
                </c:pt>
                <c:pt idx="46">
                  <c:v>1494.0355870645158</c:v>
                </c:pt>
                <c:pt idx="47">
                  <c:v>1432.9246088612665</c:v>
                </c:pt>
                <c:pt idx="48">
                  <c:v>1373.8119577159287</c:v>
                </c:pt>
                <c:pt idx="49">
                  <c:v>1316.4471877094436</c:v>
                </c:pt>
                <c:pt idx="50">
                  <c:v>1260.9891522588109</c:v>
                </c:pt>
                <c:pt idx="51">
                  <c:v>1207.6336791951915</c:v>
                </c:pt>
                <c:pt idx="52">
                  <c:v>1156.3238758190832</c:v>
                </c:pt>
                <c:pt idx="53">
                  <c:v>1106.897264268491</c:v>
                </c:pt>
                <c:pt idx="54">
                  <c:v>1059.4860803266899</c:v>
                </c:pt>
                <c:pt idx="55">
                  <c:v>1013.9991227779407</c:v>
                </c:pt>
                <c:pt idx="56">
                  <c:v>970.44271130353286</c:v>
                </c:pt>
                <c:pt idx="57">
                  <c:v>928.65860034034324</c:v>
                </c:pt>
                <c:pt idx="58">
                  <c:v>888.69556964238325</c:v>
                </c:pt>
                <c:pt idx="59">
                  <c:v>850.74224116889354</c:v>
                </c:pt>
                <c:pt idx="60">
                  <c:v>814.52164048195823</c:v>
                </c:pt>
                <c:pt idx="61">
                  <c:v>779.76409245229718</c:v>
                </c:pt>
                <c:pt idx="62">
                  <c:v>746.72517186793277</c:v>
                </c:pt>
                <c:pt idx="63">
                  <c:v>715.21053311977357</c:v>
                </c:pt>
                <c:pt idx="64">
                  <c:v>685.17667078848353</c:v>
                </c:pt>
                <c:pt idx="65">
                  <c:v>656.62836264349608</c:v>
                </c:pt>
                <c:pt idx="66">
                  <c:v>629.43358948497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8F8-4AB8-A8EE-CBCC174D4D3C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CU$3</c:f>
              <c:numCache>
                <c:formatCode>General</c:formatCode>
                <c:ptCount val="98"/>
                <c:pt idx="26">
                  <c:v>3209.6219140195108</c:v>
                </c:pt>
                <c:pt idx="27">
                  <c:v>3091.0085414869964</c:v>
                </c:pt>
                <c:pt idx="28">
                  <c:v>2980.3540818820456</c:v>
                </c:pt>
                <c:pt idx="29">
                  <c:v>2876.961611497285</c:v>
                </c:pt>
                <c:pt idx="30">
                  <c:v>2783.0502642964243</c:v>
                </c:pt>
                <c:pt idx="31">
                  <c:v>2700.194568717438</c:v>
                </c:pt>
                <c:pt idx="32">
                  <c:v>2625.4197349263577</c:v>
                </c:pt>
                <c:pt idx="33">
                  <c:v>2554.201613979154</c:v>
                </c:pt>
                <c:pt idx="34">
                  <c:v>2486.5611454413179</c:v>
                </c:pt>
                <c:pt idx="35">
                  <c:v>2423.635294254158</c:v>
                </c:pt>
                <c:pt idx="36">
                  <c:v>2365.0519789864557</c:v>
                </c:pt>
                <c:pt idx="37">
                  <c:v>2310.3286390309413</c:v>
                </c:pt>
                <c:pt idx="38">
                  <c:v>2259.806093292555</c:v>
                </c:pt>
                <c:pt idx="39">
                  <c:v>2210.378852520163</c:v>
                </c:pt>
                <c:pt idx="40">
                  <c:v>2159.9943519202479</c:v>
                </c:pt>
                <c:pt idx="41">
                  <c:v>2109.9356679179787</c:v>
                </c:pt>
                <c:pt idx="42">
                  <c:v>2061.0538128697203</c:v>
                </c:pt>
                <c:pt idx="43">
                  <c:v>2013.3633653622264</c:v>
                </c:pt>
                <c:pt idx="44">
                  <c:v>1966.7121158292848</c:v>
                </c:pt>
                <c:pt idx="45">
                  <c:v>1921.1651402162188</c:v>
                </c:pt>
                <c:pt idx="46">
                  <c:v>1875.8471115395973</c:v>
                </c:pt>
                <c:pt idx="47">
                  <c:v>1830.8607353075622</c:v>
                </c:pt>
                <c:pt idx="48">
                  <c:v>1786.5672728670565</c:v>
                </c:pt>
                <c:pt idx="49">
                  <c:v>1742.8303399110137</c:v>
                </c:pt>
                <c:pt idx="50">
                  <c:v>1699.7785478348289</c:v>
                </c:pt>
                <c:pt idx="51">
                  <c:v>1657.6556533002299</c:v>
                </c:pt>
                <c:pt idx="52">
                  <c:v>1616.4169974469728</c:v>
                </c:pt>
                <c:pt idx="53">
                  <c:v>1575.915798128605</c:v>
                </c:pt>
                <c:pt idx="54">
                  <c:v>1536.3076941536942</c:v>
                </c:pt>
                <c:pt idx="55">
                  <c:v>1497.5676615609304</c:v>
                </c:pt>
                <c:pt idx="56">
                  <c:v>1459.744861688373</c:v>
                </c:pt>
                <c:pt idx="57">
                  <c:v>1422.7463503281542</c:v>
                </c:pt>
                <c:pt idx="58">
                  <c:v>1386.6489185797407</c:v>
                </c:pt>
                <c:pt idx="59">
                  <c:v>1351.7030146734514</c:v>
                </c:pt>
                <c:pt idx="60">
                  <c:v>1317.6626693873991</c:v>
                </c:pt>
                <c:pt idx="61">
                  <c:v>1284.3528369796909</c:v>
                </c:pt>
                <c:pt idx="62">
                  <c:v>1252.0197462564288</c:v>
                </c:pt>
                <c:pt idx="63">
                  <c:v>1220.554297300476</c:v>
                </c:pt>
                <c:pt idx="64">
                  <c:v>1189.9375680249441</c:v>
                </c:pt>
                <c:pt idx="65">
                  <c:v>1160.2231175764221</c:v>
                </c:pt>
                <c:pt idx="66">
                  <c:v>1131.29086002140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8F8-4AB8-A8EE-CBCC174D4D3C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CU$4</c:f>
              <c:numCache>
                <c:formatCode>General</c:formatCode>
                <c:ptCount val="98"/>
                <c:pt idx="26">
                  <c:v>3214.6338131957727</c:v>
                </c:pt>
                <c:pt idx="27">
                  <c:v>3104.7520786012524</c:v>
                </c:pt>
                <c:pt idx="28">
                  <c:v>3005.0747498697197</c:v>
                </c:pt>
                <c:pt idx="29">
                  <c:v>2913.9401352291175</c:v>
                </c:pt>
                <c:pt idx="30">
                  <c:v>2834.1775003189969</c:v>
                </c:pt>
                <c:pt idx="31">
                  <c:v>2767.8711607479554</c:v>
                </c:pt>
                <c:pt idx="32">
                  <c:v>2712.3553903458114</c:v>
                </c:pt>
                <c:pt idx="33">
                  <c:v>2663.1450237682957</c:v>
                </c:pt>
                <c:pt idx="34">
                  <c:v>2619.2169341146027</c:v>
                </c:pt>
                <c:pt idx="35">
                  <c:v>2581.1281385232473</c:v>
                </c:pt>
                <c:pt idx="36">
                  <c:v>2548.472863850302</c:v>
                </c:pt>
                <c:pt idx="37">
                  <c:v>2521.020149201373</c:v>
                </c:pt>
                <c:pt idx="38">
                  <c:v>2498.9119198215394</c:v>
                </c:pt>
                <c:pt idx="39">
                  <c:v>2478.7040070055532</c:v>
                </c:pt>
                <c:pt idx="40">
                  <c:v>2458.0042982679274</c:v>
                </c:pt>
                <c:pt idx="41">
                  <c:v>2437.6617274036662</c:v>
                </c:pt>
                <c:pt idx="42">
                  <c:v>2418.3563774076738</c:v>
                </c:pt>
                <c:pt idx="43">
                  <c:v>2400.1756590679183</c:v>
                </c:pt>
                <c:pt idx="44">
                  <c:v>2382.9820861626063</c:v>
                </c:pt>
                <c:pt idx="45">
                  <c:v>2366.6273779137337</c:v>
                </c:pt>
                <c:pt idx="46">
                  <c:v>2349.9490839422606</c:v>
                </c:pt>
                <c:pt idx="47">
                  <c:v>2332.9451007056923</c:v>
                </c:pt>
                <c:pt idx="48">
                  <c:v>2316.0028950792648</c:v>
                </c:pt>
                <c:pt idx="49">
                  <c:v>2298.9003343999448</c:v>
                </c:pt>
                <c:pt idx="50">
                  <c:v>2281.8183226421729</c:v>
                </c:pt>
                <c:pt idx="51">
                  <c:v>2264.9054385746849</c:v>
                </c:pt>
                <c:pt idx="52">
                  <c:v>2248.0974333529884</c:v>
                </c:pt>
                <c:pt idx="53">
                  <c:v>2231.1865007900933</c:v>
                </c:pt>
                <c:pt idx="54">
                  <c:v>2214.3112420866032</c:v>
                </c:pt>
                <c:pt idx="55">
                  <c:v>2197.5517515094912</c:v>
                </c:pt>
                <c:pt idx="56">
                  <c:v>2180.9052104322154</c:v>
                </c:pt>
                <c:pt idx="57">
                  <c:v>2164.2673000043969</c:v>
                </c:pt>
                <c:pt idx="58">
                  <c:v>2147.7793628361055</c:v>
                </c:pt>
                <c:pt idx="59">
                  <c:v>2131.5843795711021</c:v>
                </c:pt>
                <c:pt idx="60">
                  <c:v>2115.536709809784</c:v>
                </c:pt>
                <c:pt idx="61">
                  <c:v>2099.4441694610086</c:v>
                </c:pt>
                <c:pt idx="62">
                  <c:v>2083.5851455955426</c:v>
                </c:pt>
                <c:pt idx="63">
                  <c:v>2067.8526586727457</c:v>
                </c:pt>
                <c:pt idx="64">
                  <c:v>2052.2294007331852</c:v>
                </c:pt>
                <c:pt idx="65">
                  <c:v>2036.843996821548</c:v>
                </c:pt>
                <c:pt idx="66">
                  <c:v>2021.54951410195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8F8-4AB8-A8EE-CBCC174D4D3C}"/>
            </c:ext>
          </c:extLst>
        </c:ser>
        <c:ser>
          <c:idx val="4"/>
          <c:order val="3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CU$6</c:f>
              <c:numCache>
                <c:formatCode>General</c:formatCode>
                <c:ptCount val="98"/>
                <c:pt idx="0">
                  <c:v>9464</c:v>
                </c:pt>
                <c:pt idx="1">
                  <c:v>9464</c:v>
                </c:pt>
                <c:pt idx="2">
                  <c:v>9464</c:v>
                </c:pt>
                <c:pt idx="3">
                  <c:v>9464</c:v>
                </c:pt>
                <c:pt idx="4">
                  <c:v>9464</c:v>
                </c:pt>
                <c:pt idx="5">
                  <c:v>9464</c:v>
                </c:pt>
                <c:pt idx="6">
                  <c:v>9464</c:v>
                </c:pt>
                <c:pt idx="7">
                  <c:v>9464</c:v>
                </c:pt>
                <c:pt idx="8">
                  <c:v>9464</c:v>
                </c:pt>
                <c:pt idx="9">
                  <c:v>9464</c:v>
                </c:pt>
                <c:pt idx="10">
                  <c:v>9464</c:v>
                </c:pt>
                <c:pt idx="11">
                  <c:v>9464</c:v>
                </c:pt>
                <c:pt idx="12">
                  <c:v>9464</c:v>
                </c:pt>
                <c:pt idx="13">
                  <c:v>9464</c:v>
                </c:pt>
                <c:pt idx="14">
                  <c:v>9464</c:v>
                </c:pt>
                <c:pt idx="15">
                  <c:v>9464</c:v>
                </c:pt>
                <c:pt idx="16">
                  <c:v>9464</c:v>
                </c:pt>
                <c:pt idx="17">
                  <c:v>9464</c:v>
                </c:pt>
                <c:pt idx="18">
                  <c:v>9464</c:v>
                </c:pt>
                <c:pt idx="19">
                  <c:v>9464</c:v>
                </c:pt>
                <c:pt idx="20">
                  <c:v>9464</c:v>
                </c:pt>
                <c:pt idx="21">
                  <c:v>9464</c:v>
                </c:pt>
                <c:pt idx="22">
                  <c:v>9464</c:v>
                </c:pt>
                <c:pt idx="23">
                  <c:v>9464</c:v>
                </c:pt>
                <c:pt idx="24">
                  <c:v>9464</c:v>
                </c:pt>
                <c:pt idx="25">
                  <c:v>9464</c:v>
                </c:pt>
                <c:pt idx="26">
                  <c:v>9464</c:v>
                </c:pt>
                <c:pt idx="27">
                  <c:v>9464</c:v>
                </c:pt>
                <c:pt idx="28">
                  <c:v>9464</c:v>
                </c:pt>
                <c:pt idx="29">
                  <c:v>9464</c:v>
                </c:pt>
                <c:pt idx="30">
                  <c:v>9464</c:v>
                </c:pt>
                <c:pt idx="31">
                  <c:v>9464</c:v>
                </c:pt>
                <c:pt idx="32">
                  <c:v>9464</c:v>
                </c:pt>
                <c:pt idx="33">
                  <c:v>9464</c:v>
                </c:pt>
                <c:pt idx="34">
                  <c:v>9464</c:v>
                </c:pt>
                <c:pt idx="35">
                  <c:v>9464</c:v>
                </c:pt>
                <c:pt idx="36">
                  <c:v>9464</c:v>
                </c:pt>
                <c:pt idx="37">
                  <c:v>9464</c:v>
                </c:pt>
                <c:pt idx="38">
                  <c:v>9464</c:v>
                </c:pt>
                <c:pt idx="39">
                  <c:v>9464</c:v>
                </c:pt>
                <c:pt idx="40">
                  <c:v>9464</c:v>
                </c:pt>
                <c:pt idx="41">
                  <c:v>9464</c:v>
                </c:pt>
                <c:pt idx="42">
                  <c:v>9464</c:v>
                </c:pt>
                <c:pt idx="43">
                  <c:v>9464</c:v>
                </c:pt>
                <c:pt idx="44">
                  <c:v>9464</c:v>
                </c:pt>
                <c:pt idx="45">
                  <c:v>9464</c:v>
                </c:pt>
                <c:pt idx="46">
                  <c:v>9464</c:v>
                </c:pt>
                <c:pt idx="47">
                  <c:v>9464</c:v>
                </c:pt>
                <c:pt idx="48">
                  <c:v>9464</c:v>
                </c:pt>
                <c:pt idx="49">
                  <c:v>9464</c:v>
                </c:pt>
                <c:pt idx="50">
                  <c:v>9464</c:v>
                </c:pt>
                <c:pt idx="51">
                  <c:v>9464</c:v>
                </c:pt>
                <c:pt idx="52">
                  <c:v>9464</c:v>
                </c:pt>
                <c:pt idx="53">
                  <c:v>9464</c:v>
                </c:pt>
                <c:pt idx="54">
                  <c:v>9464</c:v>
                </c:pt>
                <c:pt idx="55">
                  <c:v>9464</c:v>
                </c:pt>
                <c:pt idx="56">
                  <c:v>9464</c:v>
                </c:pt>
                <c:pt idx="57">
                  <c:v>9464</c:v>
                </c:pt>
                <c:pt idx="58">
                  <c:v>9464</c:v>
                </c:pt>
                <c:pt idx="59">
                  <c:v>9464</c:v>
                </c:pt>
                <c:pt idx="60">
                  <c:v>9464</c:v>
                </c:pt>
                <c:pt idx="61">
                  <c:v>9464</c:v>
                </c:pt>
                <c:pt idx="62">
                  <c:v>9464</c:v>
                </c:pt>
                <c:pt idx="63">
                  <c:v>9464</c:v>
                </c:pt>
                <c:pt idx="64">
                  <c:v>9464</c:v>
                </c:pt>
                <c:pt idx="65">
                  <c:v>9464</c:v>
                </c:pt>
                <c:pt idx="66">
                  <c:v>94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28F8-4AB8-A8EE-CBCC174D4D3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4"/>
          <c:tx>
            <c:v>Počet hospitalizací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CU$7</c:f>
              <c:numCache>
                <c:formatCode>General</c:formatCode>
                <c:ptCount val="98"/>
                <c:pt idx="0">
                  <c:v>1501</c:v>
                </c:pt>
                <c:pt idx="1">
                  <c:v>1420</c:v>
                </c:pt>
                <c:pt idx="2">
                  <c:v>1397</c:v>
                </c:pt>
                <c:pt idx="3">
                  <c:v>1378</c:v>
                </c:pt>
                <c:pt idx="4">
                  <c:v>1344</c:v>
                </c:pt>
                <c:pt idx="5">
                  <c:v>1391</c:v>
                </c:pt>
                <c:pt idx="6">
                  <c:v>1357</c:v>
                </c:pt>
                <c:pt idx="7">
                  <c:v>1311</c:v>
                </c:pt>
                <c:pt idx="8">
                  <c:v>1232</c:v>
                </c:pt>
                <c:pt idx="9">
                  <c:v>1213</c:v>
                </c:pt>
                <c:pt idx="10">
                  <c:v>1195</c:v>
                </c:pt>
                <c:pt idx="11">
                  <c:v>1182</c:v>
                </c:pt>
                <c:pt idx="12">
                  <c:v>1154</c:v>
                </c:pt>
                <c:pt idx="13">
                  <c:v>1110</c:v>
                </c:pt>
                <c:pt idx="14">
                  <c:v>1033</c:v>
                </c:pt>
                <c:pt idx="15">
                  <c:v>1010</c:v>
                </c:pt>
                <c:pt idx="16">
                  <c:v>971</c:v>
                </c:pt>
                <c:pt idx="17">
                  <c:v>973</c:v>
                </c:pt>
                <c:pt idx="18">
                  <c:v>992</c:v>
                </c:pt>
                <c:pt idx="19">
                  <c:v>941</c:v>
                </c:pt>
                <c:pt idx="20">
                  <c:v>906</c:v>
                </c:pt>
                <c:pt idx="21">
                  <c:v>830</c:v>
                </c:pt>
                <c:pt idx="22">
                  <c:v>784</c:v>
                </c:pt>
                <c:pt idx="23">
                  <c:v>749</c:v>
                </c:pt>
                <c:pt idx="24">
                  <c:v>757</c:v>
                </c:pt>
                <c:pt idx="25">
                  <c:v>735</c:v>
                </c:pt>
                <c:pt idx="26">
                  <c:v>709</c:v>
                </c:pt>
                <c:pt idx="27">
                  <c:v>683</c:v>
                </c:pt>
                <c:pt idx="28">
                  <c:v>634</c:v>
                </c:pt>
                <c:pt idx="29">
                  <c:v>575</c:v>
                </c:pt>
                <c:pt idx="30">
                  <c:v>551</c:v>
                </c:pt>
                <c:pt idx="31">
                  <c:v>557</c:v>
                </c:pt>
                <c:pt idx="32">
                  <c:v>563</c:v>
                </c:pt>
                <c:pt idx="33">
                  <c:v>542</c:v>
                </c:pt>
                <c:pt idx="34">
                  <c:v>499</c:v>
                </c:pt>
                <c:pt idx="35">
                  <c:v>464</c:v>
                </c:pt>
                <c:pt idx="36">
                  <c:v>441</c:v>
                </c:pt>
                <c:pt idx="37">
                  <c:v>413</c:v>
                </c:pt>
                <c:pt idx="38">
                  <c:v>421</c:v>
                </c:pt>
                <c:pt idx="39">
                  <c:v>426</c:v>
                </c:pt>
                <c:pt idx="40">
                  <c:v>402</c:v>
                </c:pt>
                <c:pt idx="41">
                  <c:v>377</c:v>
                </c:pt>
                <c:pt idx="42">
                  <c:v>367</c:v>
                </c:pt>
                <c:pt idx="43">
                  <c:v>340</c:v>
                </c:pt>
                <c:pt idx="44">
                  <c:v>307</c:v>
                </c:pt>
                <c:pt idx="45">
                  <c:v>302</c:v>
                </c:pt>
                <c:pt idx="46">
                  <c:v>294</c:v>
                </c:pt>
                <c:pt idx="47">
                  <c:v>279</c:v>
                </c:pt>
                <c:pt idx="48">
                  <c:v>250</c:v>
                </c:pt>
                <c:pt idx="49">
                  <c:v>219</c:v>
                </c:pt>
                <c:pt idx="50">
                  <c:v>193</c:v>
                </c:pt>
                <c:pt idx="51">
                  <c:v>189</c:v>
                </c:pt>
                <c:pt idx="52">
                  <c:v>188</c:v>
                </c:pt>
                <c:pt idx="53">
                  <c:v>183</c:v>
                </c:pt>
                <c:pt idx="54">
                  <c:v>162</c:v>
                </c:pt>
                <c:pt idx="55">
                  <c:v>155</c:v>
                </c:pt>
                <c:pt idx="56">
                  <c:v>144</c:v>
                </c:pt>
                <c:pt idx="57">
                  <c:v>127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55F-43E9-953D-C9CE717F27E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CU$2</c:f>
              <c:numCache>
                <c:formatCode>General</c:formatCode>
                <c:ptCount val="98"/>
                <c:pt idx="26">
                  <c:v>712.43872983210565</c:v>
                </c:pt>
                <c:pt idx="27">
                  <c:v>680.85320605749507</c:v>
                </c:pt>
                <c:pt idx="28">
                  <c:v>651.5621026606583</c:v>
                </c:pt>
                <c:pt idx="29">
                  <c:v>623.55678321008065</c:v>
                </c:pt>
                <c:pt idx="30">
                  <c:v>597.39898718966253</c:v>
                </c:pt>
                <c:pt idx="31">
                  <c:v>573.64042929923028</c:v>
                </c:pt>
                <c:pt idx="32">
                  <c:v>551.24024695820356</c:v>
                </c:pt>
                <c:pt idx="33">
                  <c:v>530.37050732899945</c:v>
                </c:pt>
                <c:pt idx="34">
                  <c:v>510.45725976489297</c:v>
                </c:pt>
                <c:pt idx="35">
                  <c:v>491.60838218842571</c:v>
                </c:pt>
                <c:pt idx="36">
                  <c:v>473.41853325775912</c:v>
                </c:pt>
                <c:pt idx="37">
                  <c:v>456.26954668296116</c:v>
                </c:pt>
                <c:pt idx="38">
                  <c:v>439.8768621782873</c:v>
                </c:pt>
                <c:pt idx="39">
                  <c:v>423.76120237760796</c:v>
                </c:pt>
                <c:pt idx="40">
                  <c:v>408.4114366125541</c:v>
                </c:pt>
                <c:pt idx="41">
                  <c:v>393.25773537891848</c:v>
                </c:pt>
                <c:pt idx="42">
                  <c:v>378.40709820789067</c:v>
                </c:pt>
                <c:pt idx="43">
                  <c:v>363.73441568631836</c:v>
                </c:pt>
                <c:pt idx="44">
                  <c:v>349.42056930842341</c:v>
                </c:pt>
                <c:pt idx="45">
                  <c:v>335.42059559249395</c:v>
                </c:pt>
                <c:pt idx="46">
                  <c:v>321.79414887381375</c:v>
                </c:pt>
                <c:pt idx="47">
                  <c:v>308.53304930739375</c:v>
                </c:pt>
                <c:pt idx="48">
                  <c:v>295.51401232423285</c:v>
                </c:pt>
                <c:pt idx="49">
                  <c:v>282.89405227992489</c:v>
                </c:pt>
                <c:pt idx="50">
                  <c:v>270.45095008853383</c:v>
                </c:pt>
                <c:pt idx="51">
                  <c:v>258.38891625148716</c:v>
                </c:pt>
                <c:pt idx="52">
                  <c:v>246.73841968975324</c:v>
                </c:pt>
                <c:pt idx="53">
                  <c:v>235.53153061592064</c:v>
                </c:pt>
                <c:pt idx="54">
                  <c:v>224.60820005150549</c:v>
                </c:pt>
                <c:pt idx="55">
                  <c:v>214.09252154238152</c:v>
                </c:pt>
                <c:pt idx="56">
                  <c:v>203.96889972933829</c:v>
                </c:pt>
                <c:pt idx="57">
                  <c:v>194.2051928901956</c:v>
                </c:pt>
                <c:pt idx="58">
                  <c:v>184.77638080115489</c:v>
                </c:pt>
                <c:pt idx="59">
                  <c:v>175.70172360066476</c:v>
                </c:pt>
                <c:pt idx="60">
                  <c:v>167.07520572286853</c:v>
                </c:pt>
                <c:pt idx="61">
                  <c:v>158.82244747792544</c:v>
                </c:pt>
                <c:pt idx="62">
                  <c:v>150.89428527706372</c:v>
                </c:pt>
                <c:pt idx="63">
                  <c:v>143.36999392981031</c:v>
                </c:pt>
                <c:pt idx="64">
                  <c:v>136.07085987914178</c:v>
                </c:pt>
                <c:pt idx="65">
                  <c:v>129.12066785338448</c:v>
                </c:pt>
                <c:pt idx="66">
                  <c:v>122.510853979832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55F-43E9-953D-C9CE717F27E6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CU$3</c:f>
              <c:numCache>
                <c:formatCode>General</c:formatCode>
                <c:ptCount val="98"/>
                <c:pt idx="26">
                  <c:v>712.98876248241982</c:v>
                </c:pt>
                <c:pt idx="27">
                  <c:v>682.41286438042255</c:v>
                </c:pt>
                <c:pt idx="28">
                  <c:v>654.49173584415189</c:v>
                </c:pt>
                <c:pt idx="29">
                  <c:v>628.13934425481079</c:v>
                </c:pt>
                <c:pt idx="30">
                  <c:v>603.96611728825189</c:v>
                </c:pt>
                <c:pt idx="31">
                  <c:v>582.55655607243784</c:v>
                </c:pt>
                <c:pt idx="32">
                  <c:v>562.91095544433108</c:v>
                </c:pt>
                <c:pt idx="33">
                  <c:v>545.21407355090992</c:v>
                </c:pt>
                <c:pt idx="34">
                  <c:v>528.79550186756444</c:v>
                </c:pt>
                <c:pt idx="35">
                  <c:v>513.69916199789293</c:v>
                </c:pt>
                <c:pt idx="36">
                  <c:v>499.47985944811921</c:v>
                </c:pt>
                <c:pt idx="37">
                  <c:v>486.49920156576968</c:v>
                </c:pt>
                <c:pt idx="38">
                  <c:v>474.4379571654149</c:v>
                </c:pt>
                <c:pt idx="39">
                  <c:v>462.76512581381337</c:v>
                </c:pt>
                <c:pt idx="40">
                  <c:v>451.90333736922213</c:v>
                </c:pt>
                <c:pt idx="41">
                  <c:v>441.22273582104395</c:v>
                </c:pt>
                <c:pt idx="42">
                  <c:v>430.79938966718987</c:v>
                </c:pt>
                <c:pt idx="43">
                  <c:v>420.47358926063424</c:v>
                </c:pt>
                <c:pt idx="44">
                  <c:v>410.39551747197368</c:v>
                </c:pt>
                <c:pt idx="45">
                  <c:v>400.49014784504021</c:v>
                </c:pt>
                <c:pt idx="46">
                  <c:v>390.79971608668461</c:v>
                </c:pt>
                <c:pt idx="47">
                  <c:v>381.29069759549327</c:v>
                </c:pt>
                <c:pt idx="48">
                  <c:v>371.81645527560374</c:v>
                </c:pt>
                <c:pt idx="49">
                  <c:v>362.5330370260034</c:v>
                </c:pt>
                <c:pt idx="50">
                  <c:v>353.2039428987971</c:v>
                </c:pt>
                <c:pt idx="51">
                  <c:v>344.03076599440504</c:v>
                </c:pt>
                <c:pt idx="52">
                  <c:v>335.04132086192249</c:v>
                </c:pt>
                <c:pt idx="53">
                  <c:v>326.26790943662024</c:v>
                </c:pt>
                <c:pt idx="54">
                  <c:v>317.55126942873432</c:v>
                </c:pt>
                <c:pt idx="55">
                  <c:v>309.02023076263083</c:v>
                </c:pt>
                <c:pt idx="56">
                  <c:v>300.66239917257843</c:v>
                </c:pt>
                <c:pt idx="57">
                  <c:v>292.45404749031923</c:v>
                </c:pt>
                <c:pt idx="58">
                  <c:v>284.3762938445999</c:v>
                </c:pt>
                <c:pt idx="59">
                  <c:v>276.45726041464633</c:v>
                </c:pt>
                <c:pt idx="60">
                  <c:v>268.7965540805148</c:v>
                </c:pt>
                <c:pt idx="61">
                  <c:v>261.33416786664185</c:v>
                </c:pt>
                <c:pt idx="62">
                  <c:v>254.02401061156294</c:v>
                </c:pt>
                <c:pt idx="63">
                  <c:v>246.958408950923</c:v>
                </c:pt>
                <c:pt idx="64">
                  <c:v>239.96527629294263</c:v>
                </c:pt>
                <c:pt idx="65">
                  <c:v>233.17745936769148</c:v>
                </c:pt>
                <c:pt idx="66">
                  <c:v>226.591958690773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55F-43E9-953D-C9CE717F27E6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CU$4</c:f>
              <c:numCache>
                <c:formatCode>General</c:formatCode>
                <c:ptCount val="98"/>
                <c:pt idx="26">
                  <c:v>713.53462821871597</c:v>
                </c:pt>
                <c:pt idx="27">
                  <c:v>683.96714688620352</c:v>
                </c:pt>
                <c:pt idx="28">
                  <c:v>657.41515382780187</c:v>
                </c:pt>
                <c:pt idx="29">
                  <c:v>632.71496132046911</c:v>
                </c:pt>
                <c:pt idx="30">
                  <c:v>610.5506537112617</c:v>
                </c:pt>
                <c:pt idx="31">
                  <c:v>591.56350865560921</c:v>
                </c:pt>
                <c:pt idx="32">
                  <c:v>574.81714247051502</c:v>
                </c:pt>
                <c:pt idx="33">
                  <c:v>560.52062365126164</c:v>
                </c:pt>
                <c:pt idx="34">
                  <c:v>547.90395099461273</c:v>
                </c:pt>
                <c:pt idx="35">
                  <c:v>536.94701676095406</c:v>
                </c:pt>
                <c:pt idx="36">
                  <c:v>527.19340720809441</c:v>
                </c:pt>
                <c:pt idx="37">
                  <c:v>519.01145146651311</c:v>
                </c:pt>
                <c:pt idx="38">
                  <c:v>512.04997731859964</c:v>
                </c:pt>
                <c:pt idx="39">
                  <c:v>505.7270070112325</c:v>
                </c:pt>
                <c:pt idx="40">
                  <c:v>500.41296658464313</c:v>
                </c:pt>
                <c:pt idx="41">
                  <c:v>495.41688791621959</c:v>
                </c:pt>
                <c:pt idx="42">
                  <c:v>490.7757788200102</c:v>
                </c:pt>
                <c:pt idx="43">
                  <c:v>486.30841519447472</c:v>
                </c:pt>
                <c:pt idx="44">
                  <c:v>482.14592078660121</c:v>
                </c:pt>
                <c:pt idx="45">
                  <c:v>478.17470468414865</c:v>
                </c:pt>
                <c:pt idx="46">
                  <c:v>474.39443152815562</c:v>
                </c:pt>
                <c:pt idx="47">
                  <c:v>470.74300778637439</c:v>
                </c:pt>
                <c:pt idx="48">
                  <c:v>467.06244808554663</c:v>
                </c:pt>
                <c:pt idx="49">
                  <c:v>463.4843739509364</c:v>
                </c:pt>
                <c:pt idx="50">
                  <c:v>459.76431532745664</c:v>
                </c:pt>
                <c:pt idx="51">
                  <c:v>456.08338778718974</c:v>
                </c:pt>
                <c:pt idx="52">
                  <c:v>452.45977784525905</c:v>
                </c:pt>
                <c:pt idx="53">
                  <c:v>448.91342890858789</c:v>
                </c:pt>
                <c:pt idx="54">
                  <c:v>445.27749248814922</c:v>
                </c:pt>
                <c:pt idx="55">
                  <c:v>441.68460345303595</c:v>
                </c:pt>
                <c:pt idx="56">
                  <c:v>438.11175765773083</c:v>
                </c:pt>
                <c:pt idx="57">
                  <c:v>434.53111596809697</c:v>
                </c:pt>
                <c:pt idx="58">
                  <c:v>430.92969958213803</c:v>
                </c:pt>
                <c:pt idx="59">
                  <c:v>427.32253192053236</c:v>
                </c:pt>
                <c:pt idx="60">
                  <c:v>423.81754074420707</c:v>
                </c:pt>
                <c:pt idx="61">
                  <c:v>420.3521680688246</c:v>
                </c:pt>
                <c:pt idx="62">
                  <c:v>416.88367201206717</c:v>
                </c:pt>
                <c:pt idx="63">
                  <c:v>413.50470438878438</c:v>
                </c:pt>
                <c:pt idx="64">
                  <c:v>410.04390844283131</c:v>
                </c:pt>
                <c:pt idx="65">
                  <c:v>406.64172789775728</c:v>
                </c:pt>
                <c:pt idx="66">
                  <c:v>403.293755017394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55F-43E9-953D-C9CE717F27E6}"/>
            </c:ext>
          </c:extLst>
        </c:ser>
        <c:ser>
          <c:idx val="4"/>
          <c:order val="3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CU$6</c:f>
              <c:numCache>
                <c:formatCode>General</c:formatCode>
                <c:ptCount val="98"/>
                <c:pt idx="0">
                  <c:v>1893</c:v>
                </c:pt>
                <c:pt idx="1">
                  <c:v>1893</c:v>
                </c:pt>
                <c:pt idx="2">
                  <c:v>1893</c:v>
                </c:pt>
                <c:pt idx="3">
                  <c:v>1893</c:v>
                </c:pt>
                <c:pt idx="4">
                  <c:v>1893</c:v>
                </c:pt>
                <c:pt idx="5">
                  <c:v>1893</c:v>
                </c:pt>
                <c:pt idx="6">
                  <c:v>1893</c:v>
                </c:pt>
                <c:pt idx="7">
                  <c:v>1893</c:v>
                </c:pt>
                <c:pt idx="8">
                  <c:v>1893</c:v>
                </c:pt>
                <c:pt idx="9">
                  <c:v>1893</c:v>
                </c:pt>
                <c:pt idx="10">
                  <c:v>1893</c:v>
                </c:pt>
                <c:pt idx="11">
                  <c:v>1893</c:v>
                </c:pt>
                <c:pt idx="12">
                  <c:v>1893</c:v>
                </c:pt>
                <c:pt idx="13">
                  <c:v>1893</c:v>
                </c:pt>
                <c:pt idx="14">
                  <c:v>1893</c:v>
                </c:pt>
                <c:pt idx="15">
                  <c:v>1893</c:v>
                </c:pt>
                <c:pt idx="16">
                  <c:v>1893</c:v>
                </c:pt>
                <c:pt idx="17">
                  <c:v>1893</c:v>
                </c:pt>
                <c:pt idx="18">
                  <c:v>1893</c:v>
                </c:pt>
                <c:pt idx="19">
                  <c:v>1893</c:v>
                </c:pt>
                <c:pt idx="20">
                  <c:v>1893</c:v>
                </c:pt>
                <c:pt idx="21">
                  <c:v>1893</c:v>
                </c:pt>
                <c:pt idx="22">
                  <c:v>1893</c:v>
                </c:pt>
                <c:pt idx="23">
                  <c:v>1893</c:v>
                </c:pt>
                <c:pt idx="24">
                  <c:v>1893</c:v>
                </c:pt>
                <c:pt idx="25">
                  <c:v>1893</c:v>
                </c:pt>
                <c:pt idx="26">
                  <c:v>1893</c:v>
                </c:pt>
                <c:pt idx="27">
                  <c:v>1893</c:v>
                </c:pt>
                <c:pt idx="28">
                  <c:v>1893</c:v>
                </c:pt>
                <c:pt idx="29">
                  <c:v>1893</c:v>
                </c:pt>
                <c:pt idx="30">
                  <c:v>1893</c:v>
                </c:pt>
                <c:pt idx="31">
                  <c:v>1893</c:v>
                </c:pt>
                <c:pt idx="32">
                  <c:v>1893</c:v>
                </c:pt>
                <c:pt idx="33">
                  <c:v>1893</c:v>
                </c:pt>
                <c:pt idx="34">
                  <c:v>1893</c:v>
                </c:pt>
                <c:pt idx="35">
                  <c:v>1893</c:v>
                </c:pt>
                <c:pt idx="36">
                  <c:v>1893</c:v>
                </c:pt>
                <c:pt idx="37">
                  <c:v>1893</c:v>
                </c:pt>
                <c:pt idx="38">
                  <c:v>1893</c:v>
                </c:pt>
                <c:pt idx="39">
                  <c:v>1893</c:v>
                </c:pt>
                <c:pt idx="40">
                  <c:v>1893</c:v>
                </c:pt>
                <c:pt idx="41">
                  <c:v>1893</c:v>
                </c:pt>
                <c:pt idx="42">
                  <c:v>1893</c:v>
                </c:pt>
                <c:pt idx="43">
                  <c:v>1893</c:v>
                </c:pt>
                <c:pt idx="44">
                  <c:v>1893</c:v>
                </c:pt>
                <c:pt idx="45">
                  <c:v>1893</c:v>
                </c:pt>
                <c:pt idx="46">
                  <c:v>1893</c:v>
                </c:pt>
                <c:pt idx="47">
                  <c:v>1893</c:v>
                </c:pt>
                <c:pt idx="48">
                  <c:v>1893</c:v>
                </c:pt>
                <c:pt idx="49">
                  <c:v>1893</c:v>
                </c:pt>
                <c:pt idx="50">
                  <c:v>1893</c:v>
                </c:pt>
                <c:pt idx="51">
                  <c:v>1893</c:v>
                </c:pt>
                <c:pt idx="52">
                  <c:v>1893</c:v>
                </c:pt>
                <c:pt idx="53">
                  <c:v>1893</c:v>
                </c:pt>
                <c:pt idx="54">
                  <c:v>1893</c:v>
                </c:pt>
                <c:pt idx="55">
                  <c:v>1893</c:v>
                </c:pt>
                <c:pt idx="56">
                  <c:v>1893</c:v>
                </c:pt>
                <c:pt idx="57">
                  <c:v>1893</c:v>
                </c:pt>
                <c:pt idx="58">
                  <c:v>1893</c:v>
                </c:pt>
                <c:pt idx="59">
                  <c:v>1893</c:v>
                </c:pt>
                <c:pt idx="60">
                  <c:v>1893</c:v>
                </c:pt>
                <c:pt idx="61">
                  <c:v>1893</c:v>
                </c:pt>
                <c:pt idx="62">
                  <c:v>1893</c:v>
                </c:pt>
                <c:pt idx="63">
                  <c:v>1893</c:v>
                </c:pt>
                <c:pt idx="64">
                  <c:v>1893</c:v>
                </c:pt>
                <c:pt idx="65">
                  <c:v>1893</c:v>
                </c:pt>
                <c:pt idx="66">
                  <c:v>18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255F-43E9-953D-C9CE717F27E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  <c:max val="2200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2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725639816114128E-2"/>
          <c:y val="3.7414076378474583E-2"/>
          <c:w val="0.93069323165507978"/>
          <c:h val="0.81046931681231571"/>
        </c:manualLayout>
      </c:layout>
      <c:lineChart>
        <c:grouping val="standard"/>
        <c:varyColors val="0"/>
        <c:ser>
          <c:idx val="0"/>
          <c:order val="0"/>
          <c:tx>
            <c:v>0,0455437769925402</c:v>
          </c:tx>
          <c:spPr>
            <a:ln w="19050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tx1"/>
              </a:solidFill>
              <a:ln w="19050">
                <a:solidFill>
                  <a:schemeClr val="tx1"/>
                </a:solidFill>
              </a:ln>
              <a:effectLst/>
            </c:spPr>
          </c:marker>
          <c:trendline>
            <c:spPr>
              <a:ln w="25400" cap="rnd">
                <a:solidFill>
                  <a:srgbClr val="FF000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494</c:f>
              <c:numCache>
                <c:formatCode>m/d/yyyy</c:formatCode>
                <c:ptCount val="493"/>
                <c:pt idx="0">
                  <c:v>44076</c:v>
                </c:pt>
                <c:pt idx="1">
                  <c:v>44077</c:v>
                </c:pt>
                <c:pt idx="2">
                  <c:v>44078</c:v>
                </c:pt>
                <c:pt idx="3">
                  <c:v>44079</c:v>
                </c:pt>
                <c:pt idx="4">
                  <c:v>44080</c:v>
                </c:pt>
                <c:pt idx="5">
                  <c:v>44081</c:v>
                </c:pt>
                <c:pt idx="6">
                  <c:v>44082</c:v>
                </c:pt>
                <c:pt idx="7">
                  <c:v>44083</c:v>
                </c:pt>
                <c:pt idx="8">
                  <c:v>44084</c:v>
                </c:pt>
                <c:pt idx="9">
                  <c:v>44085</c:v>
                </c:pt>
                <c:pt idx="10">
                  <c:v>44086</c:v>
                </c:pt>
                <c:pt idx="11">
                  <c:v>44087</c:v>
                </c:pt>
                <c:pt idx="12">
                  <c:v>44088</c:v>
                </c:pt>
                <c:pt idx="13">
                  <c:v>44089</c:v>
                </c:pt>
                <c:pt idx="14">
                  <c:v>44090</c:v>
                </c:pt>
                <c:pt idx="15">
                  <c:v>44091</c:v>
                </c:pt>
                <c:pt idx="16">
                  <c:v>44092</c:v>
                </c:pt>
                <c:pt idx="17">
                  <c:v>44093</c:v>
                </c:pt>
                <c:pt idx="18">
                  <c:v>44094</c:v>
                </c:pt>
                <c:pt idx="19">
                  <c:v>44095</c:v>
                </c:pt>
                <c:pt idx="20">
                  <c:v>44096</c:v>
                </c:pt>
                <c:pt idx="21">
                  <c:v>44097</c:v>
                </c:pt>
                <c:pt idx="22">
                  <c:v>44098</c:v>
                </c:pt>
                <c:pt idx="23">
                  <c:v>44099</c:v>
                </c:pt>
                <c:pt idx="24">
                  <c:v>44100</c:v>
                </c:pt>
                <c:pt idx="25">
                  <c:v>44101</c:v>
                </c:pt>
                <c:pt idx="26">
                  <c:v>44102</c:v>
                </c:pt>
                <c:pt idx="27">
                  <c:v>44103</c:v>
                </c:pt>
                <c:pt idx="28">
                  <c:v>44104</c:v>
                </c:pt>
                <c:pt idx="29">
                  <c:v>44105</c:v>
                </c:pt>
                <c:pt idx="30">
                  <c:v>44106</c:v>
                </c:pt>
                <c:pt idx="31">
                  <c:v>44107</c:v>
                </c:pt>
                <c:pt idx="32">
                  <c:v>44108</c:v>
                </c:pt>
                <c:pt idx="33">
                  <c:v>44109</c:v>
                </c:pt>
                <c:pt idx="34">
                  <c:v>44110</c:v>
                </c:pt>
                <c:pt idx="35">
                  <c:v>44111</c:v>
                </c:pt>
                <c:pt idx="36">
                  <c:v>44112</c:v>
                </c:pt>
                <c:pt idx="37">
                  <c:v>44113</c:v>
                </c:pt>
                <c:pt idx="38">
                  <c:v>44114</c:v>
                </c:pt>
                <c:pt idx="39">
                  <c:v>44115</c:v>
                </c:pt>
                <c:pt idx="40">
                  <c:v>44116</c:v>
                </c:pt>
                <c:pt idx="41">
                  <c:v>44117</c:v>
                </c:pt>
                <c:pt idx="42">
                  <c:v>44118</c:v>
                </c:pt>
                <c:pt idx="43">
                  <c:v>44119</c:v>
                </c:pt>
                <c:pt idx="44">
                  <c:v>44120</c:v>
                </c:pt>
                <c:pt idx="45">
                  <c:v>44121</c:v>
                </c:pt>
                <c:pt idx="46">
                  <c:v>44122</c:v>
                </c:pt>
                <c:pt idx="47">
                  <c:v>44123</c:v>
                </c:pt>
                <c:pt idx="48">
                  <c:v>44124</c:v>
                </c:pt>
                <c:pt idx="49">
                  <c:v>44125</c:v>
                </c:pt>
                <c:pt idx="50">
                  <c:v>44126</c:v>
                </c:pt>
                <c:pt idx="51">
                  <c:v>44127</c:v>
                </c:pt>
                <c:pt idx="52">
                  <c:v>44128</c:v>
                </c:pt>
                <c:pt idx="53">
                  <c:v>44129</c:v>
                </c:pt>
                <c:pt idx="54">
                  <c:v>44130</c:v>
                </c:pt>
                <c:pt idx="55">
                  <c:v>44131</c:v>
                </c:pt>
                <c:pt idx="56">
                  <c:v>44132</c:v>
                </c:pt>
                <c:pt idx="57">
                  <c:v>44133</c:v>
                </c:pt>
                <c:pt idx="58">
                  <c:v>44134</c:v>
                </c:pt>
                <c:pt idx="59">
                  <c:v>44135</c:v>
                </c:pt>
                <c:pt idx="60">
                  <c:v>44136</c:v>
                </c:pt>
                <c:pt idx="61">
                  <c:v>44137</c:v>
                </c:pt>
                <c:pt idx="62">
                  <c:v>44138</c:v>
                </c:pt>
                <c:pt idx="63">
                  <c:v>44139</c:v>
                </c:pt>
                <c:pt idx="64">
                  <c:v>44140</c:v>
                </c:pt>
                <c:pt idx="65">
                  <c:v>44141</c:v>
                </c:pt>
                <c:pt idx="66">
                  <c:v>44142</c:v>
                </c:pt>
                <c:pt idx="67">
                  <c:v>44143</c:v>
                </c:pt>
                <c:pt idx="68">
                  <c:v>44144</c:v>
                </c:pt>
                <c:pt idx="69">
                  <c:v>44145</c:v>
                </c:pt>
                <c:pt idx="70">
                  <c:v>44146</c:v>
                </c:pt>
                <c:pt idx="71">
                  <c:v>44147</c:v>
                </c:pt>
                <c:pt idx="72">
                  <c:v>44148</c:v>
                </c:pt>
                <c:pt idx="73">
                  <c:v>44149</c:v>
                </c:pt>
                <c:pt idx="74">
                  <c:v>44150</c:v>
                </c:pt>
                <c:pt idx="75">
                  <c:v>44151</c:v>
                </c:pt>
                <c:pt idx="76">
                  <c:v>44152</c:v>
                </c:pt>
                <c:pt idx="77">
                  <c:v>44153</c:v>
                </c:pt>
                <c:pt idx="78">
                  <c:v>44154</c:v>
                </c:pt>
                <c:pt idx="79">
                  <c:v>44155</c:v>
                </c:pt>
                <c:pt idx="80">
                  <c:v>44156</c:v>
                </c:pt>
                <c:pt idx="81">
                  <c:v>44157</c:v>
                </c:pt>
                <c:pt idx="82">
                  <c:v>44158</c:v>
                </c:pt>
                <c:pt idx="83">
                  <c:v>44159</c:v>
                </c:pt>
                <c:pt idx="84">
                  <c:v>44160</c:v>
                </c:pt>
                <c:pt idx="85">
                  <c:v>44161</c:v>
                </c:pt>
                <c:pt idx="86">
                  <c:v>44162</c:v>
                </c:pt>
                <c:pt idx="87">
                  <c:v>44163</c:v>
                </c:pt>
                <c:pt idx="88">
                  <c:v>44164</c:v>
                </c:pt>
                <c:pt idx="89">
                  <c:v>44165</c:v>
                </c:pt>
                <c:pt idx="90">
                  <c:v>44166</c:v>
                </c:pt>
                <c:pt idx="91">
                  <c:v>44167</c:v>
                </c:pt>
                <c:pt idx="92">
                  <c:v>44168</c:v>
                </c:pt>
                <c:pt idx="93">
                  <c:v>44169</c:v>
                </c:pt>
                <c:pt idx="94">
                  <c:v>44170</c:v>
                </c:pt>
                <c:pt idx="95">
                  <c:v>44171</c:v>
                </c:pt>
                <c:pt idx="96">
                  <c:v>44172</c:v>
                </c:pt>
                <c:pt idx="97">
                  <c:v>44173</c:v>
                </c:pt>
                <c:pt idx="98">
                  <c:v>44174</c:v>
                </c:pt>
                <c:pt idx="99">
                  <c:v>44175</c:v>
                </c:pt>
                <c:pt idx="100">
                  <c:v>44176</c:v>
                </c:pt>
                <c:pt idx="101">
                  <c:v>44177</c:v>
                </c:pt>
                <c:pt idx="102">
                  <c:v>44178</c:v>
                </c:pt>
                <c:pt idx="103">
                  <c:v>44179</c:v>
                </c:pt>
                <c:pt idx="104">
                  <c:v>44180</c:v>
                </c:pt>
                <c:pt idx="105">
                  <c:v>44181</c:v>
                </c:pt>
                <c:pt idx="106">
                  <c:v>44182</c:v>
                </c:pt>
                <c:pt idx="107">
                  <c:v>44183</c:v>
                </c:pt>
                <c:pt idx="108">
                  <c:v>44184</c:v>
                </c:pt>
                <c:pt idx="109">
                  <c:v>44185</c:v>
                </c:pt>
                <c:pt idx="110">
                  <c:v>44186</c:v>
                </c:pt>
                <c:pt idx="111">
                  <c:v>44187</c:v>
                </c:pt>
                <c:pt idx="112">
                  <c:v>44188</c:v>
                </c:pt>
                <c:pt idx="113">
                  <c:v>44189</c:v>
                </c:pt>
                <c:pt idx="114">
                  <c:v>44190</c:v>
                </c:pt>
                <c:pt idx="115">
                  <c:v>44191</c:v>
                </c:pt>
                <c:pt idx="116">
                  <c:v>44192</c:v>
                </c:pt>
                <c:pt idx="117">
                  <c:v>44193</c:v>
                </c:pt>
                <c:pt idx="118">
                  <c:v>44194</c:v>
                </c:pt>
                <c:pt idx="119">
                  <c:v>44195</c:v>
                </c:pt>
                <c:pt idx="120">
                  <c:v>44196</c:v>
                </c:pt>
                <c:pt idx="121">
                  <c:v>44197</c:v>
                </c:pt>
                <c:pt idx="122">
                  <c:v>44198</c:v>
                </c:pt>
                <c:pt idx="123">
                  <c:v>44199</c:v>
                </c:pt>
                <c:pt idx="124">
                  <c:v>44200</c:v>
                </c:pt>
                <c:pt idx="125">
                  <c:v>44201</c:v>
                </c:pt>
                <c:pt idx="126">
                  <c:v>44202</c:v>
                </c:pt>
                <c:pt idx="127">
                  <c:v>44203</c:v>
                </c:pt>
                <c:pt idx="128">
                  <c:v>44204</c:v>
                </c:pt>
                <c:pt idx="129">
                  <c:v>44205</c:v>
                </c:pt>
                <c:pt idx="130">
                  <c:v>44206</c:v>
                </c:pt>
                <c:pt idx="131">
                  <c:v>44207</c:v>
                </c:pt>
                <c:pt idx="132">
                  <c:v>44208</c:v>
                </c:pt>
                <c:pt idx="133">
                  <c:v>44209</c:v>
                </c:pt>
                <c:pt idx="134">
                  <c:v>44210</c:v>
                </c:pt>
                <c:pt idx="135">
                  <c:v>44211</c:v>
                </c:pt>
                <c:pt idx="136">
                  <c:v>44212</c:v>
                </c:pt>
                <c:pt idx="137">
                  <c:v>44213</c:v>
                </c:pt>
                <c:pt idx="138">
                  <c:v>44214</c:v>
                </c:pt>
                <c:pt idx="139">
                  <c:v>44215</c:v>
                </c:pt>
                <c:pt idx="140">
                  <c:v>44216</c:v>
                </c:pt>
                <c:pt idx="141">
                  <c:v>44217</c:v>
                </c:pt>
                <c:pt idx="142">
                  <c:v>44218</c:v>
                </c:pt>
                <c:pt idx="143">
                  <c:v>44219</c:v>
                </c:pt>
                <c:pt idx="144">
                  <c:v>44220</c:v>
                </c:pt>
                <c:pt idx="145">
                  <c:v>44221</c:v>
                </c:pt>
                <c:pt idx="146">
                  <c:v>44222</c:v>
                </c:pt>
                <c:pt idx="147">
                  <c:v>44223</c:v>
                </c:pt>
                <c:pt idx="148">
                  <c:v>44224</c:v>
                </c:pt>
                <c:pt idx="149">
                  <c:v>44225</c:v>
                </c:pt>
                <c:pt idx="150">
                  <c:v>44226</c:v>
                </c:pt>
                <c:pt idx="151">
                  <c:v>44227</c:v>
                </c:pt>
                <c:pt idx="152">
                  <c:v>44228</c:v>
                </c:pt>
                <c:pt idx="153">
                  <c:v>44229</c:v>
                </c:pt>
                <c:pt idx="154">
                  <c:v>44230</c:v>
                </c:pt>
                <c:pt idx="155">
                  <c:v>44231</c:v>
                </c:pt>
                <c:pt idx="156">
                  <c:v>44232</c:v>
                </c:pt>
                <c:pt idx="157">
                  <c:v>44233</c:v>
                </c:pt>
                <c:pt idx="158">
                  <c:v>44234</c:v>
                </c:pt>
                <c:pt idx="159">
                  <c:v>44235</c:v>
                </c:pt>
                <c:pt idx="160">
                  <c:v>44236</c:v>
                </c:pt>
                <c:pt idx="161">
                  <c:v>44237</c:v>
                </c:pt>
                <c:pt idx="162">
                  <c:v>44238</c:v>
                </c:pt>
                <c:pt idx="163">
                  <c:v>44239</c:v>
                </c:pt>
                <c:pt idx="164">
                  <c:v>44240</c:v>
                </c:pt>
                <c:pt idx="165">
                  <c:v>44241</c:v>
                </c:pt>
                <c:pt idx="166">
                  <c:v>44242</c:v>
                </c:pt>
                <c:pt idx="167">
                  <c:v>44243</c:v>
                </c:pt>
                <c:pt idx="168">
                  <c:v>44244</c:v>
                </c:pt>
                <c:pt idx="169">
                  <c:v>44245</c:v>
                </c:pt>
                <c:pt idx="170">
                  <c:v>44246</c:v>
                </c:pt>
                <c:pt idx="171">
                  <c:v>44247</c:v>
                </c:pt>
                <c:pt idx="172">
                  <c:v>44248</c:v>
                </c:pt>
                <c:pt idx="173">
                  <c:v>44249</c:v>
                </c:pt>
                <c:pt idx="174">
                  <c:v>44250</c:v>
                </c:pt>
                <c:pt idx="175">
                  <c:v>44251</c:v>
                </c:pt>
                <c:pt idx="176">
                  <c:v>44252</c:v>
                </c:pt>
                <c:pt idx="177">
                  <c:v>44253</c:v>
                </c:pt>
                <c:pt idx="178">
                  <c:v>44254</c:v>
                </c:pt>
                <c:pt idx="179">
                  <c:v>44255</c:v>
                </c:pt>
                <c:pt idx="180">
                  <c:v>44256</c:v>
                </c:pt>
                <c:pt idx="181">
                  <c:v>44257</c:v>
                </c:pt>
                <c:pt idx="182">
                  <c:v>44258</c:v>
                </c:pt>
                <c:pt idx="183">
                  <c:v>44259</c:v>
                </c:pt>
                <c:pt idx="184">
                  <c:v>44260</c:v>
                </c:pt>
                <c:pt idx="185">
                  <c:v>44261</c:v>
                </c:pt>
                <c:pt idx="186">
                  <c:v>44262</c:v>
                </c:pt>
                <c:pt idx="187">
                  <c:v>44263</c:v>
                </c:pt>
                <c:pt idx="188">
                  <c:v>44264</c:v>
                </c:pt>
                <c:pt idx="189">
                  <c:v>44265</c:v>
                </c:pt>
                <c:pt idx="190">
                  <c:v>44266</c:v>
                </c:pt>
                <c:pt idx="191">
                  <c:v>44267</c:v>
                </c:pt>
                <c:pt idx="192">
                  <c:v>44268</c:v>
                </c:pt>
                <c:pt idx="193">
                  <c:v>44269</c:v>
                </c:pt>
                <c:pt idx="194">
                  <c:v>44270</c:v>
                </c:pt>
                <c:pt idx="195">
                  <c:v>44271</c:v>
                </c:pt>
                <c:pt idx="196">
                  <c:v>44272</c:v>
                </c:pt>
                <c:pt idx="197">
                  <c:v>44273</c:v>
                </c:pt>
                <c:pt idx="198">
                  <c:v>44274</c:v>
                </c:pt>
                <c:pt idx="199">
                  <c:v>44275</c:v>
                </c:pt>
                <c:pt idx="200">
                  <c:v>44276</c:v>
                </c:pt>
                <c:pt idx="201">
                  <c:v>44277</c:v>
                </c:pt>
                <c:pt idx="202">
                  <c:v>44278</c:v>
                </c:pt>
                <c:pt idx="203">
                  <c:v>44279</c:v>
                </c:pt>
                <c:pt idx="204">
                  <c:v>44280</c:v>
                </c:pt>
                <c:pt idx="205">
                  <c:v>44281</c:v>
                </c:pt>
                <c:pt idx="206">
                  <c:v>44282</c:v>
                </c:pt>
                <c:pt idx="207">
                  <c:v>44283</c:v>
                </c:pt>
                <c:pt idx="208">
                  <c:v>44284</c:v>
                </c:pt>
                <c:pt idx="209">
                  <c:v>44285</c:v>
                </c:pt>
                <c:pt idx="210">
                  <c:v>44286</c:v>
                </c:pt>
                <c:pt idx="211">
                  <c:v>44287</c:v>
                </c:pt>
                <c:pt idx="212">
                  <c:v>44288</c:v>
                </c:pt>
                <c:pt idx="213">
                  <c:v>44289</c:v>
                </c:pt>
                <c:pt idx="214">
                  <c:v>44290</c:v>
                </c:pt>
                <c:pt idx="215">
                  <c:v>44291</c:v>
                </c:pt>
                <c:pt idx="216">
                  <c:v>44292</c:v>
                </c:pt>
                <c:pt idx="217">
                  <c:v>44293</c:v>
                </c:pt>
                <c:pt idx="218">
                  <c:v>44294</c:v>
                </c:pt>
                <c:pt idx="219">
                  <c:v>44295</c:v>
                </c:pt>
                <c:pt idx="220">
                  <c:v>44296</c:v>
                </c:pt>
                <c:pt idx="221">
                  <c:v>44297</c:v>
                </c:pt>
                <c:pt idx="222">
                  <c:v>44298</c:v>
                </c:pt>
                <c:pt idx="223">
                  <c:v>44299</c:v>
                </c:pt>
                <c:pt idx="224">
                  <c:v>44300</c:v>
                </c:pt>
                <c:pt idx="225">
                  <c:v>44301</c:v>
                </c:pt>
                <c:pt idx="226">
                  <c:v>44302</c:v>
                </c:pt>
                <c:pt idx="227">
                  <c:v>44303</c:v>
                </c:pt>
                <c:pt idx="228">
                  <c:v>44304</c:v>
                </c:pt>
                <c:pt idx="229">
                  <c:v>44305</c:v>
                </c:pt>
                <c:pt idx="230">
                  <c:v>44306</c:v>
                </c:pt>
                <c:pt idx="231">
                  <c:v>44307</c:v>
                </c:pt>
                <c:pt idx="232">
                  <c:v>44308</c:v>
                </c:pt>
                <c:pt idx="233">
                  <c:v>44309</c:v>
                </c:pt>
                <c:pt idx="234">
                  <c:v>44310</c:v>
                </c:pt>
                <c:pt idx="235">
                  <c:v>44311</c:v>
                </c:pt>
                <c:pt idx="236">
                  <c:v>44312</c:v>
                </c:pt>
                <c:pt idx="237">
                  <c:v>44313</c:v>
                </c:pt>
                <c:pt idx="238">
                  <c:v>44314</c:v>
                </c:pt>
                <c:pt idx="239">
                  <c:v>44315</c:v>
                </c:pt>
                <c:pt idx="240">
                  <c:v>44316</c:v>
                </c:pt>
                <c:pt idx="241">
                  <c:v>44317</c:v>
                </c:pt>
                <c:pt idx="242">
                  <c:v>44318</c:v>
                </c:pt>
                <c:pt idx="243">
                  <c:v>44319</c:v>
                </c:pt>
                <c:pt idx="244">
                  <c:v>44320</c:v>
                </c:pt>
                <c:pt idx="245">
                  <c:v>44321</c:v>
                </c:pt>
                <c:pt idx="246">
                  <c:v>44322</c:v>
                </c:pt>
                <c:pt idx="247">
                  <c:v>44323</c:v>
                </c:pt>
                <c:pt idx="248">
                  <c:v>44324</c:v>
                </c:pt>
                <c:pt idx="249">
                  <c:v>44325</c:v>
                </c:pt>
                <c:pt idx="250">
                  <c:v>44326</c:v>
                </c:pt>
                <c:pt idx="251">
                  <c:v>44327</c:v>
                </c:pt>
                <c:pt idx="252">
                  <c:v>44328</c:v>
                </c:pt>
                <c:pt idx="253">
                  <c:v>44329</c:v>
                </c:pt>
                <c:pt idx="254">
                  <c:v>44330</c:v>
                </c:pt>
                <c:pt idx="255">
                  <c:v>44331</c:v>
                </c:pt>
                <c:pt idx="256">
                  <c:v>44332</c:v>
                </c:pt>
                <c:pt idx="257">
                  <c:v>44333</c:v>
                </c:pt>
                <c:pt idx="258">
                  <c:v>44334</c:v>
                </c:pt>
                <c:pt idx="259">
                  <c:v>44335</c:v>
                </c:pt>
                <c:pt idx="260">
                  <c:v>44336</c:v>
                </c:pt>
                <c:pt idx="261">
                  <c:v>44337</c:v>
                </c:pt>
                <c:pt idx="262">
                  <c:v>44338</c:v>
                </c:pt>
                <c:pt idx="263">
                  <c:v>44339</c:v>
                </c:pt>
                <c:pt idx="264">
                  <c:v>44340</c:v>
                </c:pt>
                <c:pt idx="265">
                  <c:v>44341</c:v>
                </c:pt>
                <c:pt idx="266">
                  <c:v>44342</c:v>
                </c:pt>
                <c:pt idx="267">
                  <c:v>44343</c:v>
                </c:pt>
                <c:pt idx="268">
                  <c:v>44344</c:v>
                </c:pt>
                <c:pt idx="269">
                  <c:v>44345</c:v>
                </c:pt>
                <c:pt idx="270">
                  <c:v>44346</c:v>
                </c:pt>
              </c:numCache>
            </c:numRef>
          </c:cat>
          <c:val>
            <c:numRef>
              <c:f>Sheet1!$B$2:$B$494</c:f>
              <c:numCache>
                <c:formatCode>General</c:formatCode>
                <c:ptCount val="493"/>
                <c:pt idx="0">
                  <c:v>7.8068264342774141E-2</c:v>
                </c:pt>
                <c:pt idx="1">
                  <c:v>7.715491259795057E-2</c:v>
                </c:pt>
                <c:pt idx="2">
                  <c:v>9.1127922971114161E-2</c:v>
                </c:pt>
                <c:pt idx="3">
                  <c:v>7.7447833065810601E-2</c:v>
                </c:pt>
                <c:pt idx="4">
                  <c:v>0.13078291814946619</c:v>
                </c:pt>
                <c:pt idx="5">
                  <c:v>6.8131868131868126E-2</c:v>
                </c:pt>
                <c:pt idx="6">
                  <c:v>9.5685604442545924E-2</c:v>
                </c:pt>
                <c:pt idx="7">
                  <c:v>9.8598023442886693E-2</c:v>
                </c:pt>
                <c:pt idx="8">
                  <c:v>0.1145956607495069</c:v>
                </c:pt>
                <c:pt idx="9">
                  <c:v>8.6837710642173979E-2</c:v>
                </c:pt>
                <c:pt idx="10">
                  <c:v>0.15572519083969466</c:v>
                </c:pt>
                <c:pt idx="11">
                  <c:v>0.16857855361596011</c:v>
                </c:pt>
                <c:pt idx="12">
                  <c:v>7.4573225516621738E-2</c:v>
                </c:pt>
                <c:pt idx="13">
                  <c:v>8.8303640588690932E-2</c:v>
                </c:pt>
                <c:pt idx="14">
                  <c:v>0.1250338294993234</c:v>
                </c:pt>
                <c:pt idx="15">
                  <c:v>0.18126817917393834</c:v>
                </c:pt>
                <c:pt idx="16">
                  <c:v>0.14159882557053249</c:v>
                </c:pt>
                <c:pt idx="17">
                  <c:v>0.14800339847068819</c:v>
                </c:pt>
                <c:pt idx="18">
                  <c:v>0.11484098939929328</c:v>
                </c:pt>
                <c:pt idx="19">
                  <c:v>9.3647058823529417E-2</c:v>
                </c:pt>
                <c:pt idx="20">
                  <c:v>0.13883202889825405</c:v>
                </c:pt>
                <c:pt idx="21">
                  <c:v>0.13667605633802818</c:v>
                </c:pt>
                <c:pt idx="22">
                  <c:v>0.1541349351067253</c:v>
                </c:pt>
                <c:pt idx="23">
                  <c:v>0.17138646173281399</c:v>
                </c:pt>
                <c:pt idx="24">
                  <c:v>0.15944645006016847</c:v>
                </c:pt>
                <c:pt idx="25">
                  <c:v>0.15106233948167172</c:v>
                </c:pt>
                <c:pt idx="26">
                  <c:v>0.14392125565309924</c:v>
                </c:pt>
                <c:pt idx="27">
                  <c:v>0.14604519774011299</c:v>
                </c:pt>
                <c:pt idx="28">
                  <c:v>0.17756118232863652</c:v>
                </c:pt>
                <c:pt idx="29">
                  <c:v>0.20702439024390243</c:v>
                </c:pt>
                <c:pt idx="30">
                  <c:v>0.21122994652406418</c:v>
                </c:pt>
                <c:pt idx="31">
                  <c:v>0.21989824759751272</c:v>
                </c:pt>
                <c:pt idx="32">
                  <c:v>0.26157965194109772</c:v>
                </c:pt>
                <c:pt idx="33">
                  <c:v>0.24247377741452117</c:v>
                </c:pt>
                <c:pt idx="34">
                  <c:v>0.24212941716383662</c:v>
                </c:pt>
                <c:pt idx="35">
                  <c:v>0.27577978523947505</c:v>
                </c:pt>
                <c:pt idx="36">
                  <c:v>0.28442269409422694</c:v>
                </c:pt>
                <c:pt idx="37">
                  <c:v>0.39612741112999778</c:v>
                </c:pt>
                <c:pt idx="38">
                  <c:v>0.32734358086165838</c:v>
                </c:pt>
                <c:pt idx="39">
                  <c:v>0.34176273707698029</c:v>
                </c:pt>
                <c:pt idx="40">
                  <c:v>0.25906432748538011</c:v>
                </c:pt>
                <c:pt idx="41">
                  <c:v>0.32816337081556157</c:v>
                </c:pt>
                <c:pt idx="42">
                  <c:v>0.34806016539934509</c:v>
                </c:pt>
                <c:pt idx="43">
                  <c:v>0.3522112812339917</c:v>
                </c:pt>
                <c:pt idx="44">
                  <c:v>0.35693039857227843</c:v>
                </c:pt>
                <c:pt idx="45">
                  <c:v>0.36534898085237799</c:v>
                </c:pt>
                <c:pt idx="46">
                  <c:v>0.37067991868082223</c:v>
                </c:pt>
                <c:pt idx="47">
                  <c:v>0.34887063655030803</c:v>
                </c:pt>
                <c:pt idx="48">
                  <c:v>0.36399873171173619</c:v>
                </c:pt>
                <c:pt idx="49">
                  <c:v>0.40676564244654895</c:v>
                </c:pt>
                <c:pt idx="50">
                  <c:v>0.38823767178658042</c:v>
                </c:pt>
                <c:pt idx="51">
                  <c:v>0.40467784642541926</c:v>
                </c:pt>
                <c:pt idx="52">
                  <c:v>0.38503377489253443</c:v>
                </c:pt>
                <c:pt idx="53">
                  <c:v>0.41516966067864269</c:v>
                </c:pt>
                <c:pt idx="54">
                  <c:v>0.36294085729788389</c:v>
                </c:pt>
                <c:pt idx="55">
                  <c:v>0.38197330999781232</c:v>
                </c:pt>
                <c:pt idx="56">
                  <c:v>0.39480819664844202</c:v>
                </c:pt>
                <c:pt idx="57">
                  <c:v>0.37399706668967303</c:v>
                </c:pt>
                <c:pt idx="58">
                  <c:v>0.34490473172004921</c:v>
                </c:pt>
                <c:pt idx="59">
                  <c:v>0.38163944047735499</c:v>
                </c:pt>
                <c:pt idx="60">
                  <c:v>0.38640314758898342</c:v>
                </c:pt>
                <c:pt idx="61">
                  <c:v>0.37402566957744826</c:v>
                </c:pt>
                <c:pt idx="62">
                  <c:v>0.34597968424917391</c:v>
                </c:pt>
                <c:pt idx="63">
                  <c:v>0.414956590370955</c:v>
                </c:pt>
                <c:pt idx="64">
                  <c:v>0.38154190129181847</c:v>
                </c:pt>
                <c:pt idx="65">
                  <c:v>0.34460954789756559</c:v>
                </c:pt>
                <c:pt idx="66">
                  <c:v>0.35777886840075718</c:v>
                </c:pt>
                <c:pt idx="67">
                  <c:v>0.3254062038404727</c:v>
                </c:pt>
                <c:pt idx="68">
                  <c:v>0.25542775471312867</c:v>
                </c:pt>
                <c:pt idx="69">
                  <c:v>0.30511580554848561</c:v>
                </c:pt>
                <c:pt idx="70">
                  <c:v>0.32962857952934504</c:v>
                </c:pt>
                <c:pt idx="71">
                  <c:v>0.32153542555223119</c:v>
                </c:pt>
                <c:pt idx="72">
                  <c:v>0.2858380787323595</c:v>
                </c:pt>
                <c:pt idx="73">
                  <c:v>0.32074333293109691</c:v>
                </c:pt>
                <c:pt idx="74">
                  <c:v>0.27688243064729195</c:v>
                </c:pt>
                <c:pt idx="75">
                  <c:v>0.25348009064422145</c:v>
                </c:pt>
                <c:pt idx="76">
                  <c:v>0.30549294103689645</c:v>
                </c:pt>
                <c:pt idx="77">
                  <c:v>0.27188640973630834</c:v>
                </c:pt>
                <c:pt idx="78">
                  <c:v>0.29902531277276695</c:v>
                </c:pt>
                <c:pt idx="79">
                  <c:v>0.2710692301846645</c:v>
                </c:pt>
                <c:pt idx="80">
                  <c:v>0.27517547629279471</c:v>
                </c:pt>
                <c:pt idx="81">
                  <c:v>0.26327433628318586</c:v>
                </c:pt>
                <c:pt idx="82">
                  <c:v>0.22694845728553595</c:v>
                </c:pt>
                <c:pt idx="83">
                  <c:v>0.29114525582132106</c:v>
                </c:pt>
                <c:pt idx="84">
                  <c:v>0.26789965207837391</c:v>
                </c:pt>
                <c:pt idx="85">
                  <c:v>0.26087425796006475</c:v>
                </c:pt>
                <c:pt idx="86">
                  <c:v>0.24141414141414141</c:v>
                </c:pt>
                <c:pt idx="87">
                  <c:v>0.26306753147653567</c:v>
                </c:pt>
                <c:pt idx="88">
                  <c:v>0.21301518438177874</c:v>
                </c:pt>
                <c:pt idx="89">
                  <c:v>0.19756738987508218</c:v>
                </c:pt>
                <c:pt idx="90">
                  <c:v>0.28669702548202691</c:v>
                </c:pt>
                <c:pt idx="91">
                  <c:v>0.24796100121871192</c:v>
                </c:pt>
                <c:pt idx="92">
                  <c:v>0.27579385736595524</c:v>
                </c:pt>
                <c:pt idx="93">
                  <c:v>0.26639432380133304</c:v>
                </c:pt>
                <c:pt idx="94">
                  <c:v>0.30902076060995776</c:v>
                </c:pt>
                <c:pt idx="95">
                  <c:v>0.20007621951219512</c:v>
                </c:pt>
                <c:pt idx="96">
                  <c:v>0.21702981651376146</c:v>
                </c:pt>
                <c:pt idx="97">
                  <c:v>0.2803877703206562</c:v>
                </c:pt>
                <c:pt idx="98">
                  <c:v>0.31467844869906725</c:v>
                </c:pt>
                <c:pt idx="99">
                  <c:v>0.28172978505629476</c:v>
                </c:pt>
                <c:pt idx="100">
                  <c:v>0.26896338637416961</c:v>
                </c:pt>
                <c:pt idx="101">
                  <c:v>0.30828338712156139</c:v>
                </c:pt>
                <c:pt idx="102">
                  <c:v>0.30290456431535268</c:v>
                </c:pt>
                <c:pt idx="103">
                  <c:v>0.23586710732301269</c:v>
                </c:pt>
                <c:pt idx="104">
                  <c:v>0.30730306345733044</c:v>
                </c:pt>
                <c:pt idx="105">
                  <c:v>0.31289368813472168</c:v>
                </c:pt>
                <c:pt idx="106">
                  <c:v>0.29642080284753808</c:v>
                </c:pt>
                <c:pt idx="107">
                  <c:v>0.31890748220811693</c:v>
                </c:pt>
                <c:pt idx="108">
                  <c:v>0.28616717742787701</c:v>
                </c:pt>
                <c:pt idx="109">
                  <c:v>0.35946813388353965</c:v>
                </c:pt>
                <c:pt idx="110">
                  <c:v>0.2769810227437346</c:v>
                </c:pt>
                <c:pt idx="111">
                  <c:v>0.32764620047143339</c:v>
                </c:pt>
                <c:pt idx="112">
                  <c:v>0.38716002212055706</c:v>
                </c:pt>
                <c:pt idx="113">
                  <c:v>0.41819648981238655</c:v>
                </c:pt>
                <c:pt idx="114">
                  <c:v>0.35250511247443761</c:v>
                </c:pt>
                <c:pt idx="115">
                  <c:v>0.35822376581493426</c:v>
                </c:pt>
                <c:pt idx="116">
                  <c:v>0.3477151965993624</c:v>
                </c:pt>
                <c:pt idx="117">
                  <c:v>0.40042149631190727</c:v>
                </c:pt>
                <c:pt idx="118">
                  <c:v>0.50285714285714289</c:v>
                </c:pt>
                <c:pt idx="119">
                  <c:v>0.4929833958221746</c:v>
                </c:pt>
                <c:pt idx="120">
                  <c:v>0.50213042536289454</c:v>
                </c:pt>
                <c:pt idx="121">
                  <c:v>0.4838255977496484</c:v>
                </c:pt>
                <c:pt idx="122">
                  <c:v>0.36075544174135721</c:v>
                </c:pt>
                <c:pt idx="123">
                  <c:v>0.41206349206349208</c:v>
                </c:pt>
                <c:pt idx="124">
                  <c:v>0.35488586528730465</c:v>
                </c:pt>
                <c:pt idx="125">
                  <c:v>0.4102714137822388</c:v>
                </c:pt>
                <c:pt idx="126">
                  <c:v>0.47711786594500555</c:v>
                </c:pt>
                <c:pt idx="127">
                  <c:v>0.40243902439024393</c:v>
                </c:pt>
                <c:pt idx="128">
                  <c:v>0.35713176287859177</c:v>
                </c:pt>
                <c:pt idx="129">
                  <c:v>0.4423908344141807</c:v>
                </c:pt>
                <c:pt idx="130">
                  <c:v>0.35150143973673387</c:v>
                </c:pt>
                <c:pt idx="131">
                  <c:v>0.27470168571248182</c:v>
                </c:pt>
                <c:pt idx="132">
                  <c:v>0.30411820555423691</c:v>
                </c:pt>
                <c:pt idx="133">
                  <c:v>0.34170153417015342</c:v>
                </c:pt>
                <c:pt idx="134">
                  <c:v>0.27741419429901104</c:v>
                </c:pt>
                <c:pt idx="135">
                  <c:v>0.30804132346782076</c:v>
                </c:pt>
                <c:pt idx="136">
                  <c:v>0.31215469613259667</c:v>
                </c:pt>
                <c:pt idx="137">
                  <c:v>0.29976090854751941</c:v>
                </c:pt>
                <c:pt idx="138">
                  <c:v>0.26533693579148127</c:v>
                </c:pt>
                <c:pt idx="139">
                  <c:v>0.33031739192876636</c:v>
                </c:pt>
                <c:pt idx="140">
                  <c:v>0.3074082621740134</c:v>
                </c:pt>
                <c:pt idx="141">
                  <c:v>0.32297249017506252</c:v>
                </c:pt>
                <c:pt idx="142">
                  <c:v>0.28446580729735632</c:v>
                </c:pt>
                <c:pt idx="143">
                  <c:v>0.30242901128977079</c:v>
                </c:pt>
                <c:pt idx="144">
                  <c:v>0.27335075114304375</c:v>
                </c:pt>
                <c:pt idx="145">
                  <c:v>0.23751240489579886</c:v>
                </c:pt>
                <c:pt idx="146">
                  <c:v>0.31057494866529772</c:v>
                </c:pt>
                <c:pt idx="147">
                  <c:v>0.29740970448741333</c:v>
                </c:pt>
                <c:pt idx="148">
                  <c:v>0.30776802559265032</c:v>
                </c:pt>
                <c:pt idx="149">
                  <c:v>0.26903254307171254</c:v>
                </c:pt>
                <c:pt idx="150">
                  <c:v>0.28147372097083989</c:v>
                </c:pt>
                <c:pt idx="151">
                  <c:v>0.31630510846745974</c:v>
                </c:pt>
                <c:pt idx="152">
                  <c:v>0.25033344448149381</c:v>
                </c:pt>
                <c:pt idx="153">
                  <c:v>0.30333838056096329</c:v>
                </c:pt>
                <c:pt idx="154">
                  <c:v>0.31333663857213684</c:v>
                </c:pt>
                <c:pt idx="155">
                  <c:v>0.28728390318862851</c:v>
                </c:pt>
                <c:pt idx="156">
                  <c:v>0.28184642698624057</c:v>
                </c:pt>
                <c:pt idx="157">
                  <c:v>0.30878859857482183</c:v>
                </c:pt>
                <c:pt idx="158">
                  <c:v>0.26312130691692737</c:v>
                </c:pt>
                <c:pt idx="159">
                  <c:v>0.27166147646089028</c:v>
                </c:pt>
                <c:pt idx="160">
                  <c:v>0.3357944263481723</c:v>
                </c:pt>
                <c:pt idx="161">
                  <c:v>0.32331378299120234</c:v>
                </c:pt>
                <c:pt idx="162">
                  <c:v>0.31401515151515152</c:v>
                </c:pt>
                <c:pt idx="163">
                  <c:v>0.28871258564731339</c:v>
                </c:pt>
                <c:pt idx="164">
                  <c:v>0.29399555226093405</c:v>
                </c:pt>
                <c:pt idx="165">
                  <c:v>0.27800407331975557</c:v>
                </c:pt>
                <c:pt idx="166">
                  <c:v>0.27178490443796566</c:v>
                </c:pt>
                <c:pt idx="167">
                  <c:v>0.36485712467383696</c:v>
                </c:pt>
                <c:pt idx="168">
                  <c:v>0.33501006036217301</c:v>
                </c:pt>
                <c:pt idx="169">
                  <c:v>0.33727324442197082</c:v>
                </c:pt>
                <c:pt idx="170">
                  <c:v>0.30394227384723688</c:v>
                </c:pt>
                <c:pt idx="171">
                  <c:v>0.34968484516305837</c:v>
                </c:pt>
                <c:pt idx="172">
                  <c:v>0.37166085946573751</c:v>
                </c:pt>
                <c:pt idx="173">
                  <c:v>0.30607586438402146</c:v>
                </c:pt>
                <c:pt idx="174">
                  <c:v>0.38238952890908107</c:v>
                </c:pt>
                <c:pt idx="175">
                  <c:v>0.36473532857599317</c:v>
                </c:pt>
                <c:pt idx="176">
                  <c:v>0.36092625656008226</c:v>
                </c:pt>
                <c:pt idx="177">
                  <c:v>0.34029697900665645</c:v>
                </c:pt>
                <c:pt idx="178">
                  <c:v>0.3297716320972135</c:v>
                </c:pt>
                <c:pt idx="179">
                  <c:v>0.32689655172413795</c:v>
                </c:pt>
                <c:pt idx="180">
                  <c:v>0.31526788479405388</c:v>
                </c:pt>
                <c:pt idx="181">
                  <c:v>0.36884926434765664</c:v>
                </c:pt>
                <c:pt idx="182">
                  <c:v>0.36443689170400123</c:v>
                </c:pt>
                <c:pt idx="183">
                  <c:v>0.36672077072098014</c:v>
                </c:pt>
                <c:pt idx="184">
                  <c:v>0.2996834329933169</c:v>
                </c:pt>
                <c:pt idx="185">
                  <c:v>0.41680940961516499</c:v>
                </c:pt>
                <c:pt idx="186">
                  <c:v>0.31141467932391759</c:v>
                </c:pt>
                <c:pt idx="187">
                  <c:v>0.29715088282504015</c:v>
                </c:pt>
                <c:pt idx="188">
                  <c:v>0.36233418793891425</c:v>
                </c:pt>
                <c:pt idx="189">
                  <c:v>0.35476425980877019</c:v>
                </c:pt>
                <c:pt idx="190">
                  <c:v>0.31276410638826746</c:v>
                </c:pt>
                <c:pt idx="191">
                  <c:v>0.37699144725809158</c:v>
                </c:pt>
                <c:pt idx="192">
                  <c:v>0.33700787401574805</c:v>
                </c:pt>
                <c:pt idx="193">
                  <c:v>0.29413533834586464</c:v>
                </c:pt>
                <c:pt idx="194">
                  <c:v>0.28001084525181319</c:v>
                </c:pt>
                <c:pt idx="195">
                  <c:v>0.35516506922257723</c:v>
                </c:pt>
                <c:pt idx="196">
                  <c:v>0.34239515557559752</c:v>
                </c:pt>
                <c:pt idx="197">
                  <c:v>0.32537356116393795</c:v>
                </c:pt>
                <c:pt idx="198">
                  <c:v>0.28238047950063838</c:v>
                </c:pt>
                <c:pt idx="199">
                  <c:v>0.2775582504428396</c:v>
                </c:pt>
                <c:pt idx="200">
                  <c:v>0.24600638977635783</c:v>
                </c:pt>
                <c:pt idx="201">
                  <c:v>0.22992325342194794</c:v>
                </c:pt>
                <c:pt idx="202">
                  <c:v>0.30553558590941771</c:v>
                </c:pt>
                <c:pt idx="203">
                  <c:v>0.30269195472621596</c:v>
                </c:pt>
                <c:pt idx="204">
                  <c:v>0.24767754318618043</c:v>
                </c:pt>
                <c:pt idx="205">
                  <c:v>0.25843881856540085</c:v>
                </c:pt>
                <c:pt idx="206">
                  <c:v>0.27536231884057971</c:v>
                </c:pt>
                <c:pt idx="207">
                  <c:v>0.11968016507608976</c:v>
                </c:pt>
                <c:pt idx="208">
                  <c:v>0.20932593923299228</c:v>
                </c:pt>
                <c:pt idx="209">
                  <c:v>0.26193604905825668</c:v>
                </c:pt>
                <c:pt idx="210">
                  <c:v>0.25119947954785721</c:v>
                </c:pt>
                <c:pt idx="211">
                  <c:v>0.23918992884510126</c:v>
                </c:pt>
                <c:pt idx="212">
                  <c:v>0.25666906993511174</c:v>
                </c:pt>
                <c:pt idx="213">
                  <c:v>0.22332199195793381</c:v>
                </c:pt>
                <c:pt idx="214">
                  <c:v>0.18802062673542244</c:v>
                </c:pt>
                <c:pt idx="215">
                  <c:v>9.81439105008899E-2</c:v>
                </c:pt>
                <c:pt idx="216">
                  <c:v>0.18042422693585483</c:v>
                </c:pt>
                <c:pt idx="217">
                  <c:v>0.25019467372683385</c:v>
                </c:pt>
                <c:pt idx="218">
                  <c:v>0.24030470914127425</c:v>
                </c:pt>
                <c:pt idx="219">
                  <c:v>0.20352456661239346</c:v>
                </c:pt>
                <c:pt idx="220">
                  <c:v>0.1740211311373524</c:v>
                </c:pt>
                <c:pt idx="221">
                  <c:v>0.12866015971606035</c:v>
                </c:pt>
                <c:pt idx="222">
                  <c:v>0.12258941466315521</c:v>
                </c:pt>
                <c:pt idx="223">
                  <c:v>0.18642007467222366</c:v>
                </c:pt>
                <c:pt idx="224">
                  <c:v>0.14999516768145357</c:v>
                </c:pt>
                <c:pt idx="225">
                  <c:v>0.16315360428554793</c:v>
                </c:pt>
                <c:pt idx="226">
                  <c:v>0.14818629133768166</c:v>
                </c:pt>
                <c:pt idx="227">
                  <c:v>0.13372995344024832</c:v>
                </c:pt>
                <c:pt idx="228">
                  <c:v>0.10707547169811321</c:v>
                </c:pt>
                <c:pt idx="229">
                  <c:v>0.11828442437923251</c:v>
                </c:pt>
                <c:pt idx="230">
                  <c:v>0.15306513409961686</c:v>
                </c:pt>
                <c:pt idx="231">
                  <c:v>0.13614711421291681</c:v>
                </c:pt>
                <c:pt idx="232">
                  <c:v>0.13733099649474212</c:v>
                </c:pt>
                <c:pt idx="233">
                  <c:v>0.12404627122815653</c:v>
                </c:pt>
                <c:pt idx="234">
                  <c:v>0.11515689757252812</c:v>
                </c:pt>
                <c:pt idx="235">
                  <c:v>0.12822049131216298</c:v>
                </c:pt>
                <c:pt idx="236">
                  <c:v>9.8474737845567206E-2</c:v>
                </c:pt>
                <c:pt idx="237">
                  <c:v>0.14663884007029876</c:v>
                </c:pt>
                <c:pt idx="238">
                  <c:v>0.11017298187808897</c:v>
                </c:pt>
                <c:pt idx="239">
                  <c:v>0.10940522243713734</c:v>
                </c:pt>
                <c:pt idx="240">
                  <c:v>9.3152512227656734E-2</c:v>
                </c:pt>
                <c:pt idx="241">
                  <c:v>0.11652035115722266</c:v>
                </c:pt>
                <c:pt idx="242">
                  <c:v>8.3973655323819979E-2</c:v>
                </c:pt>
                <c:pt idx="243">
                  <c:v>7.0985332831891693E-2</c:v>
                </c:pt>
                <c:pt idx="244">
                  <c:v>0.10898282694848084</c:v>
                </c:pt>
                <c:pt idx="245">
                  <c:v>8.3711433756805814E-2</c:v>
                </c:pt>
                <c:pt idx="246">
                  <c:v>8.129348106158206E-2</c:v>
                </c:pt>
                <c:pt idx="247">
                  <c:v>7.605177993527508E-2</c:v>
                </c:pt>
                <c:pt idx="248">
                  <c:v>6.4018218623481782E-2</c:v>
                </c:pt>
                <c:pt idx="249">
                  <c:v>6.1603823685608072E-2</c:v>
                </c:pt>
                <c:pt idx="250">
                  <c:v>5.0275482093663913E-2</c:v>
                </c:pt>
                <c:pt idx="251">
                  <c:v>8.851063829787234E-2</c:v>
                </c:pt>
                <c:pt idx="252">
                  <c:v>5.9300557526609225E-2</c:v>
                </c:pt>
                <c:pt idx="253">
                  <c:v>6.5671641791044774E-2</c:v>
                </c:pt>
                <c:pt idx="254">
                  <c:v>5.2731171943988901E-2</c:v>
                </c:pt>
                <c:pt idx="255">
                  <c:v>5.1215277777777776E-2</c:v>
                </c:pt>
                <c:pt idx="256">
                  <c:v>3.3916849015317288E-2</c:v>
                </c:pt>
                <c:pt idx="257">
                  <c:v>2.845469137603969E-2</c:v>
                </c:pt>
                <c:pt idx="258">
                  <c:v>4.9862902406824415E-2</c:v>
                </c:pt>
                <c:pt idx="259">
                  <c:v>2.996012501347128E-2</c:v>
                </c:pt>
                <c:pt idx="260">
                  <c:v>3.696303696303696E-2</c:v>
                </c:pt>
                <c:pt idx="261">
                  <c:v>2.5194832924095228E-2</c:v>
                </c:pt>
                <c:pt idx="262">
                  <c:v>2.748091603053435E-2</c:v>
                </c:pt>
                <c:pt idx="263">
                  <c:v>2.9447115384615384E-2</c:v>
                </c:pt>
                <c:pt idx="264">
                  <c:v>1.773132017034456E-2</c:v>
                </c:pt>
                <c:pt idx="265">
                  <c:v>2.1049896049896051E-2</c:v>
                </c:pt>
                <c:pt idx="266">
                  <c:v>3.1837518869219157E-2</c:v>
                </c:pt>
                <c:pt idx="267">
                  <c:v>2.3128574981347922E-2</c:v>
                </c:pt>
                <c:pt idx="268">
                  <c:v>2.0516981569491131E-2</c:v>
                </c:pt>
                <c:pt idx="269">
                  <c:v>2.4366150806717154E-2</c:v>
                </c:pt>
                <c:pt idx="270">
                  <c:v>1.3207547169811321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2C4-4F8B-BFF0-E6161AC7AB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4862472"/>
        <c:axId val="414859336"/>
      </c:lineChart>
      <c:dateAx>
        <c:axId val="414862472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4859336"/>
        <c:crosses val="autoZero"/>
        <c:auto val="1"/>
        <c:lblOffset val="100"/>
        <c:baseTimeUnit val="days"/>
        <c:majorUnit val="3"/>
        <c:majorTimeUnit val="days"/>
      </c:dateAx>
      <c:valAx>
        <c:axId val="414859336"/>
        <c:scaling>
          <c:orientation val="minMax"/>
          <c:max val="0.70000000000000007"/>
        </c:scaling>
        <c:delete val="0"/>
        <c:axPos val="l"/>
        <c:numFmt formatCode="0\ %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4862472"/>
        <c:crosses val="autoZero"/>
        <c:crossBetween val="between"/>
        <c:majorUnit val="0.1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725639816114128E-2"/>
          <c:y val="3.7414076378474583E-2"/>
          <c:w val="0.93069323165507978"/>
          <c:h val="0.81046931681231571"/>
        </c:manualLayout>
      </c:layout>
      <c:lineChart>
        <c:grouping val="standard"/>
        <c:varyColors val="0"/>
        <c:ser>
          <c:idx val="0"/>
          <c:order val="0"/>
          <c:tx>
            <c:v>0,0215580597746203</c:v>
          </c:tx>
          <c:spPr>
            <a:ln w="19050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tx1"/>
              </a:solidFill>
              <a:ln w="19050">
                <a:solidFill>
                  <a:schemeClr val="tx1"/>
                </a:solidFill>
              </a:ln>
              <a:effectLst/>
            </c:spPr>
          </c:marker>
          <c:trendline>
            <c:spPr>
              <a:ln w="25400" cap="rnd">
                <a:solidFill>
                  <a:srgbClr val="FF000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494</c:f>
              <c:numCache>
                <c:formatCode>m/d/yyyy</c:formatCode>
                <c:ptCount val="493"/>
                <c:pt idx="0">
                  <c:v>44076</c:v>
                </c:pt>
                <c:pt idx="1">
                  <c:v>44077</c:v>
                </c:pt>
                <c:pt idx="2">
                  <c:v>44078</c:v>
                </c:pt>
                <c:pt idx="3">
                  <c:v>44079</c:v>
                </c:pt>
                <c:pt idx="4">
                  <c:v>44080</c:v>
                </c:pt>
                <c:pt idx="5">
                  <c:v>44081</c:v>
                </c:pt>
                <c:pt idx="6">
                  <c:v>44082</c:v>
                </c:pt>
                <c:pt idx="7">
                  <c:v>44083</c:v>
                </c:pt>
                <c:pt idx="8">
                  <c:v>44084</c:v>
                </c:pt>
                <c:pt idx="9">
                  <c:v>44085</c:v>
                </c:pt>
                <c:pt idx="10">
                  <c:v>44086</c:v>
                </c:pt>
                <c:pt idx="11">
                  <c:v>44087</c:v>
                </c:pt>
                <c:pt idx="12">
                  <c:v>44088</c:v>
                </c:pt>
                <c:pt idx="13">
                  <c:v>44089</c:v>
                </c:pt>
                <c:pt idx="14">
                  <c:v>44090</c:v>
                </c:pt>
                <c:pt idx="15">
                  <c:v>44091</c:v>
                </c:pt>
                <c:pt idx="16">
                  <c:v>44092</c:v>
                </c:pt>
                <c:pt idx="17">
                  <c:v>44093</c:v>
                </c:pt>
                <c:pt idx="18">
                  <c:v>44094</c:v>
                </c:pt>
                <c:pt idx="19">
                  <c:v>44095</c:v>
                </c:pt>
                <c:pt idx="20">
                  <c:v>44096</c:v>
                </c:pt>
                <c:pt idx="21">
                  <c:v>44097</c:v>
                </c:pt>
                <c:pt idx="22">
                  <c:v>44098</c:v>
                </c:pt>
                <c:pt idx="23">
                  <c:v>44099</c:v>
                </c:pt>
                <c:pt idx="24">
                  <c:v>44100</c:v>
                </c:pt>
                <c:pt idx="25">
                  <c:v>44101</c:v>
                </c:pt>
                <c:pt idx="26">
                  <c:v>44102</c:v>
                </c:pt>
                <c:pt idx="27">
                  <c:v>44103</c:v>
                </c:pt>
                <c:pt idx="28">
                  <c:v>44104</c:v>
                </c:pt>
                <c:pt idx="29">
                  <c:v>44105</c:v>
                </c:pt>
                <c:pt idx="30">
                  <c:v>44106</c:v>
                </c:pt>
                <c:pt idx="31">
                  <c:v>44107</c:v>
                </c:pt>
                <c:pt idx="32">
                  <c:v>44108</c:v>
                </c:pt>
                <c:pt idx="33">
                  <c:v>44109</c:v>
                </c:pt>
                <c:pt idx="34">
                  <c:v>44110</c:v>
                </c:pt>
                <c:pt idx="35">
                  <c:v>44111</c:v>
                </c:pt>
                <c:pt idx="36">
                  <c:v>44112</c:v>
                </c:pt>
                <c:pt idx="37">
                  <c:v>44113</c:v>
                </c:pt>
                <c:pt idx="38">
                  <c:v>44114</c:v>
                </c:pt>
                <c:pt idx="39">
                  <c:v>44115</c:v>
                </c:pt>
                <c:pt idx="40">
                  <c:v>44116</c:v>
                </c:pt>
                <c:pt idx="41">
                  <c:v>44117</c:v>
                </c:pt>
                <c:pt idx="42">
                  <c:v>44118</c:v>
                </c:pt>
                <c:pt idx="43">
                  <c:v>44119</c:v>
                </c:pt>
                <c:pt idx="44">
                  <c:v>44120</c:v>
                </c:pt>
                <c:pt idx="45">
                  <c:v>44121</c:v>
                </c:pt>
                <c:pt idx="46">
                  <c:v>44122</c:v>
                </c:pt>
                <c:pt idx="47">
                  <c:v>44123</c:v>
                </c:pt>
                <c:pt idx="48">
                  <c:v>44124</c:v>
                </c:pt>
                <c:pt idx="49">
                  <c:v>44125</c:v>
                </c:pt>
                <c:pt idx="50">
                  <c:v>44126</c:v>
                </c:pt>
                <c:pt idx="51">
                  <c:v>44127</c:v>
                </c:pt>
                <c:pt idx="52">
                  <c:v>44128</c:v>
                </c:pt>
                <c:pt idx="53">
                  <c:v>44129</c:v>
                </c:pt>
                <c:pt idx="54">
                  <c:v>44130</c:v>
                </c:pt>
                <c:pt idx="55">
                  <c:v>44131</c:v>
                </c:pt>
                <c:pt idx="56">
                  <c:v>44132</c:v>
                </c:pt>
                <c:pt idx="57">
                  <c:v>44133</c:v>
                </c:pt>
                <c:pt idx="58">
                  <c:v>44134</c:v>
                </c:pt>
                <c:pt idx="59">
                  <c:v>44135</c:v>
                </c:pt>
                <c:pt idx="60">
                  <c:v>44136</c:v>
                </c:pt>
                <c:pt idx="61">
                  <c:v>44137</c:v>
                </c:pt>
                <c:pt idx="62">
                  <c:v>44138</c:v>
                </c:pt>
                <c:pt idx="63">
                  <c:v>44139</c:v>
                </c:pt>
                <c:pt idx="64">
                  <c:v>44140</c:v>
                </c:pt>
                <c:pt idx="65">
                  <c:v>44141</c:v>
                </c:pt>
                <c:pt idx="66">
                  <c:v>44142</c:v>
                </c:pt>
                <c:pt idx="67">
                  <c:v>44143</c:v>
                </c:pt>
                <c:pt idx="68">
                  <c:v>44144</c:v>
                </c:pt>
                <c:pt idx="69">
                  <c:v>44145</c:v>
                </c:pt>
                <c:pt idx="70">
                  <c:v>44146</c:v>
                </c:pt>
                <c:pt idx="71">
                  <c:v>44147</c:v>
                </c:pt>
                <c:pt idx="72">
                  <c:v>44148</c:v>
                </c:pt>
                <c:pt idx="73">
                  <c:v>44149</c:v>
                </c:pt>
                <c:pt idx="74">
                  <c:v>44150</c:v>
                </c:pt>
                <c:pt idx="75">
                  <c:v>44151</c:v>
                </c:pt>
                <c:pt idx="76">
                  <c:v>44152</c:v>
                </c:pt>
                <c:pt idx="77">
                  <c:v>44153</c:v>
                </c:pt>
                <c:pt idx="78">
                  <c:v>44154</c:v>
                </c:pt>
                <c:pt idx="79">
                  <c:v>44155</c:v>
                </c:pt>
                <c:pt idx="80">
                  <c:v>44156</c:v>
                </c:pt>
                <c:pt idx="81">
                  <c:v>44157</c:v>
                </c:pt>
                <c:pt idx="82">
                  <c:v>44158</c:v>
                </c:pt>
                <c:pt idx="83">
                  <c:v>44159</c:v>
                </c:pt>
                <c:pt idx="84">
                  <c:v>44160</c:v>
                </c:pt>
                <c:pt idx="85">
                  <c:v>44161</c:v>
                </c:pt>
                <c:pt idx="86">
                  <c:v>44162</c:v>
                </c:pt>
                <c:pt idx="87">
                  <c:v>44163</c:v>
                </c:pt>
                <c:pt idx="88">
                  <c:v>44164</c:v>
                </c:pt>
                <c:pt idx="89">
                  <c:v>44165</c:v>
                </c:pt>
                <c:pt idx="90">
                  <c:v>44166</c:v>
                </c:pt>
                <c:pt idx="91">
                  <c:v>44167</c:v>
                </c:pt>
                <c:pt idx="92">
                  <c:v>44168</c:v>
                </c:pt>
                <c:pt idx="93">
                  <c:v>44169</c:v>
                </c:pt>
                <c:pt idx="94">
                  <c:v>44170</c:v>
                </c:pt>
                <c:pt idx="95">
                  <c:v>44171</c:v>
                </c:pt>
                <c:pt idx="96">
                  <c:v>44172</c:v>
                </c:pt>
                <c:pt idx="97">
                  <c:v>44173</c:v>
                </c:pt>
                <c:pt idx="98">
                  <c:v>44174</c:v>
                </c:pt>
                <c:pt idx="99">
                  <c:v>44175</c:v>
                </c:pt>
                <c:pt idx="100">
                  <c:v>44176</c:v>
                </c:pt>
                <c:pt idx="101">
                  <c:v>44177</c:v>
                </c:pt>
                <c:pt idx="102">
                  <c:v>44178</c:v>
                </c:pt>
                <c:pt idx="103">
                  <c:v>44179</c:v>
                </c:pt>
                <c:pt idx="104">
                  <c:v>44180</c:v>
                </c:pt>
                <c:pt idx="105">
                  <c:v>44181</c:v>
                </c:pt>
                <c:pt idx="106">
                  <c:v>44182</c:v>
                </c:pt>
                <c:pt idx="107">
                  <c:v>44183</c:v>
                </c:pt>
                <c:pt idx="108">
                  <c:v>44184</c:v>
                </c:pt>
                <c:pt idx="109">
                  <c:v>44185</c:v>
                </c:pt>
                <c:pt idx="110">
                  <c:v>44186</c:v>
                </c:pt>
                <c:pt idx="111">
                  <c:v>44187</c:v>
                </c:pt>
                <c:pt idx="112">
                  <c:v>44188</c:v>
                </c:pt>
                <c:pt idx="113">
                  <c:v>44189</c:v>
                </c:pt>
                <c:pt idx="114">
                  <c:v>44190</c:v>
                </c:pt>
                <c:pt idx="115">
                  <c:v>44191</c:v>
                </c:pt>
                <c:pt idx="116">
                  <c:v>44192</c:v>
                </c:pt>
                <c:pt idx="117">
                  <c:v>44193</c:v>
                </c:pt>
                <c:pt idx="118">
                  <c:v>44194</c:v>
                </c:pt>
                <c:pt idx="119">
                  <c:v>44195</c:v>
                </c:pt>
                <c:pt idx="120">
                  <c:v>44196</c:v>
                </c:pt>
                <c:pt idx="121">
                  <c:v>44197</c:v>
                </c:pt>
                <c:pt idx="122">
                  <c:v>44198</c:v>
                </c:pt>
                <c:pt idx="123">
                  <c:v>44199</c:v>
                </c:pt>
                <c:pt idx="124">
                  <c:v>44200</c:v>
                </c:pt>
                <c:pt idx="125">
                  <c:v>44201</c:v>
                </c:pt>
                <c:pt idx="126">
                  <c:v>44202</c:v>
                </c:pt>
                <c:pt idx="127">
                  <c:v>44203</c:v>
                </c:pt>
                <c:pt idx="128">
                  <c:v>44204</c:v>
                </c:pt>
                <c:pt idx="129">
                  <c:v>44205</c:v>
                </c:pt>
                <c:pt idx="130">
                  <c:v>44206</c:v>
                </c:pt>
                <c:pt idx="131">
                  <c:v>44207</c:v>
                </c:pt>
                <c:pt idx="132">
                  <c:v>44208</c:v>
                </c:pt>
                <c:pt idx="133">
                  <c:v>44209</c:v>
                </c:pt>
                <c:pt idx="134">
                  <c:v>44210</c:v>
                </c:pt>
                <c:pt idx="135">
                  <c:v>44211</c:v>
                </c:pt>
                <c:pt idx="136">
                  <c:v>44212</c:v>
                </c:pt>
                <c:pt idx="137">
                  <c:v>44213</c:v>
                </c:pt>
                <c:pt idx="138">
                  <c:v>44214</c:v>
                </c:pt>
                <c:pt idx="139">
                  <c:v>44215</c:v>
                </c:pt>
                <c:pt idx="140">
                  <c:v>44216</c:v>
                </c:pt>
                <c:pt idx="141">
                  <c:v>44217</c:v>
                </c:pt>
                <c:pt idx="142">
                  <c:v>44218</c:v>
                </c:pt>
                <c:pt idx="143">
                  <c:v>44219</c:v>
                </c:pt>
                <c:pt idx="144">
                  <c:v>44220</c:v>
                </c:pt>
                <c:pt idx="145">
                  <c:v>44221</c:v>
                </c:pt>
                <c:pt idx="146">
                  <c:v>44222</c:v>
                </c:pt>
                <c:pt idx="147">
                  <c:v>44223</c:v>
                </c:pt>
                <c:pt idx="148">
                  <c:v>44224</c:v>
                </c:pt>
                <c:pt idx="149">
                  <c:v>44225</c:v>
                </c:pt>
                <c:pt idx="150">
                  <c:v>44226</c:v>
                </c:pt>
                <c:pt idx="151">
                  <c:v>44227</c:v>
                </c:pt>
                <c:pt idx="152">
                  <c:v>44228</c:v>
                </c:pt>
                <c:pt idx="153">
                  <c:v>44229</c:v>
                </c:pt>
                <c:pt idx="154">
                  <c:v>44230</c:v>
                </c:pt>
                <c:pt idx="155">
                  <c:v>44231</c:v>
                </c:pt>
                <c:pt idx="156">
                  <c:v>44232</c:v>
                </c:pt>
                <c:pt idx="157">
                  <c:v>44233</c:v>
                </c:pt>
                <c:pt idx="158">
                  <c:v>44234</c:v>
                </c:pt>
                <c:pt idx="159">
                  <c:v>44235</c:v>
                </c:pt>
                <c:pt idx="160">
                  <c:v>44236</c:v>
                </c:pt>
                <c:pt idx="161">
                  <c:v>44237</c:v>
                </c:pt>
                <c:pt idx="162">
                  <c:v>44238</c:v>
                </c:pt>
                <c:pt idx="163">
                  <c:v>44239</c:v>
                </c:pt>
                <c:pt idx="164">
                  <c:v>44240</c:v>
                </c:pt>
                <c:pt idx="165">
                  <c:v>44241</c:v>
                </c:pt>
                <c:pt idx="166">
                  <c:v>44242</c:v>
                </c:pt>
                <c:pt idx="167">
                  <c:v>44243</c:v>
                </c:pt>
                <c:pt idx="168">
                  <c:v>44244</c:v>
                </c:pt>
                <c:pt idx="169">
                  <c:v>44245</c:v>
                </c:pt>
                <c:pt idx="170">
                  <c:v>44246</c:v>
                </c:pt>
                <c:pt idx="171">
                  <c:v>44247</c:v>
                </c:pt>
                <c:pt idx="172">
                  <c:v>44248</c:v>
                </c:pt>
                <c:pt idx="173">
                  <c:v>44249</c:v>
                </c:pt>
                <c:pt idx="174">
                  <c:v>44250</c:v>
                </c:pt>
                <c:pt idx="175">
                  <c:v>44251</c:v>
                </c:pt>
                <c:pt idx="176">
                  <c:v>44252</c:v>
                </c:pt>
                <c:pt idx="177">
                  <c:v>44253</c:v>
                </c:pt>
                <c:pt idx="178">
                  <c:v>44254</c:v>
                </c:pt>
                <c:pt idx="179">
                  <c:v>44255</c:v>
                </c:pt>
                <c:pt idx="180">
                  <c:v>44256</c:v>
                </c:pt>
                <c:pt idx="181">
                  <c:v>44257</c:v>
                </c:pt>
                <c:pt idx="182">
                  <c:v>44258</c:v>
                </c:pt>
                <c:pt idx="183">
                  <c:v>44259</c:v>
                </c:pt>
                <c:pt idx="184">
                  <c:v>44260</c:v>
                </c:pt>
                <c:pt idx="185">
                  <c:v>44261</c:v>
                </c:pt>
                <c:pt idx="186">
                  <c:v>44262</c:v>
                </c:pt>
                <c:pt idx="187">
                  <c:v>44263</c:v>
                </c:pt>
                <c:pt idx="188">
                  <c:v>44264</c:v>
                </c:pt>
                <c:pt idx="189">
                  <c:v>44265</c:v>
                </c:pt>
                <c:pt idx="190">
                  <c:v>44266</c:v>
                </c:pt>
                <c:pt idx="191">
                  <c:v>44267</c:v>
                </c:pt>
                <c:pt idx="192">
                  <c:v>44268</c:v>
                </c:pt>
                <c:pt idx="193">
                  <c:v>44269</c:v>
                </c:pt>
                <c:pt idx="194">
                  <c:v>44270</c:v>
                </c:pt>
                <c:pt idx="195">
                  <c:v>44271</c:v>
                </c:pt>
                <c:pt idx="196">
                  <c:v>44272</c:v>
                </c:pt>
                <c:pt idx="197">
                  <c:v>44273</c:v>
                </c:pt>
                <c:pt idx="198">
                  <c:v>44274</c:v>
                </c:pt>
                <c:pt idx="199">
                  <c:v>44275</c:v>
                </c:pt>
                <c:pt idx="200">
                  <c:v>44276</c:v>
                </c:pt>
                <c:pt idx="201">
                  <c:v>44277</c:v>
                </c:pt>
                <c:pt idx="202">
                  <c:v>44278</c:v>
                </c:pt>
                <c:pt idx="203">
                  <c:v>44279</c:v>
                </c:pt>
                <c:pt idx="204">
                  <c:v>44280</c:v>
                </c:pt>
                <c:pt idx="205">
                  <c:v>44281</c:v>
                </c:pt>
                <c:pt idx="206">
                  <c:v>44282</c:v>
                </c:pt>
                <c:pt idx="207">
                  <c:v>44283</c:v>
                </c:pt>
                <c:pt idx="208">
                  <c:v>44284</c:v>
                </c:pt>
                <c:pt idx="209">
                  <c:v>44285</c:v>
                </c:pt>
                <c:pt idx="210">
                  <c:v>44286</c:v>
                </c:pt>
                <c:pt idx="211">
                  <c:v>44287</c:v>
                </c:pt>
                <c:pt idx="212">
                  <c:v>44288</c:v>
                </c:pt>
                <c:pt idx="213">
                  <c:v>44289</c:v>
                </c:pt>
                <c:pt idx="214">
                  <c:v>44290</c:v>
                </c:pt>
                <c:pt idx="215">
                  <c:v>44291</c:v>
                </c:pt>
                <c:pt idx="216">
                  <c:v>44292</c:v>
                </c:pt>
                <c:pt idx="217">
                  <c:v>44293</c:v>
                </c:pt>
                <c:pt idx="218">
                  <c:v>44294</c:v>
                </c:pt>
                <c:pt idx="219">
                  <c:v>44295</c:v>
                </c:pt>
                <c:pt idx="220">
                  <c:v>44296</c:v>
                </c:pt>
                <c:pt idx="221">
                  <c:v>44297</c:v>
                </c:pt>
                <c:pt idx="222">
                  <c:v>44298</c:v>
                </c:pt>
                <c:pt idx="223">
                  <c:v>44299</c:v>
                </c:pt>
                <c:pt idx="224">
                  <c:v>44300</c:v>
                </c:pt>
                <c:pt idx="225">
                  <c:v>44301</c:v>
                </c:pt>
                <c:pt idx="226">
                  <c:v>44302</c:v>
                </c:pt>
                <c:pt idx="227">
                  <c:v>44303</c:v>
                </c:pt>
                <c:pt idx="228">
                  <c:v>44304</c:v>
                </c:pt>
                <c:pt idx="229">
                  <c:v>44305</c:v>
                </c:pt>
                <c:pt idx="230">
                  <c:v>44306</c:v>
                </c:pt>
                <c:pt idx="231">
                  <c:v>44307</c:v>
                </c:pt>
                <c:pt idx="232">
                  <c:v>44308</c:v>
                </c:pt>
                <c:pt idx="233">
                  <c:v>44309</c:v>
                </c:pt>
                <c:pt idx="234">
                  <c:v>44310</c:v>
                </c:pt>
                <c:pt idx="235">
                  <c:v>44311</c:v>
                </c:pt>
                <c:pt idx="236">
                  <c:v>44312</c:v>
                </c:pt>
                <c:pt idx="237">
                  <c:v>44313</c:v>
                </c:pt>
                <c:pt idx="238">
                  <c:v>44314</c:v>
                </c:pt>
                <c:pt idx="239">
                  <c:v>44315</c:v>
                </c:pt>
                <c:pt idx="240">
                  <c:v>44316</c:v>
                </c:pt>
                <c:pt idx="241">
                  <c:v>44317</c:v>
                </c:pt>
                <c:pt idx="242">
                  <c:v>44318</c:v>
                </c:pt>
                <c:pt idx="243">
                  <c:v>44319</c:v>
                </c:pt>
                <c:pt idx="244">
                  <c:v>44320</c:v>
                </c:pt>
                <c:pt idx="245">
                  <c:v>44321</c:v>
                </c:pt>
                <c:pt idx="246">
                  <c:v>44322</c:v>
                </c:pt>
                <c:pt idx="247">
                  <c:v>44323</c:v>
                </c:pt>
                <c:pt idx="248">
                  <c:v>44324</c:v>
                </c:pt>
                <c:pt idx="249">
                  <c:v>44325</c:v>
                </c:pt>
                <c:pt idx="250">
                  <c:v>44326</c:v>
                </c:pt>
                <c:pt idx="251">
                  <c:v>44327</c:v>
                </c:pt>
                <c:pt idx="252">
                  <c:v>44328</c:v>
                </c:pt>
                <c:pt idx="253">
                  <c:v>44329</c:v>
                </c:pt>
                <c:pt idx="254">
                  <c:v>44330</c:v>
                </c:pt>
                <c:pt idx="255">
                  <c:v>44331</c:v>
                </c:pt>
                <c:pt idx="256">
                  <c:v>44332</c:v>
                </c:pt>
                <c:pt idx="257">
                  <c:v>44333</c:v>
                </c:pt>
                <c:pt idx="258">
                  <c:v>44334</c:v>
                </c:pt>
                <c:pt idx="259">
                  <c:v>44335</c:v>
                </c:pt>
                <c:pt idx="260">
                  <c:v>44336</c:v>
                </c:pt>
                <c:pt idx="261">
                  <c:v>44337</c:v>
                </c:pt>
                <c:pt idx="262">
                  <c:v>44338</c:v>
                </c:pt>
                <c:pt idx="263">
                  <c:v>44339</c:v>
                </c:pt>
                <c:pt idx="264">
                  <c:v>44340</c:v>
                </c:pt>
                <c:pt idx="265">
                  <c:v>44341</c:v>
                </c:pt>
                <c:pt idx="266">
                  <c:v>44342</c:v>
                </c:pt>
                <c:pt idx="267">
                  <c:v>44343</c:v>
                </c:pt>
                <c:pt idx="268">
                  <c:v>44344</c:v>
                </c:pt>
                <c:pt idx="269">
                  <c:v>44345</c:v>
                </c:pt>
                <c:pt idx="270">
                  <c:v>44346</c:v>
                </c:pt>
              </c:numCache>
            </c:numRef>
          </c:cat>
          <c:val>
            <c:numRef>
              <c:f>Sheet1!$B$2:$B$494</c:f>
              <c:numCache>
                <c:formatCode>General</c:formatCode>
                <c:ptCount val="493"/>
                <c:pt idx="0">
                  <c:v>3.5648148148148151E-2</c:v>
                </c:pt>
                <c:pt idx="1">
                  <c:v>3.67955286446204E-2</c:v>
                </c:pt>
                <c:pt idx="2">
                  <c:v>3.4547502816372512E-2</c:v>
                </c:pt>
                <c:pt idx="3">
                  <c:v>4.6039268788083954E-2</c:v>
                </c:pt>
                <c:pt idx="4">
                  <c:v>5.7627118644067797E-2</c:v>
                </c:pt>
                <c:pt idx="5">
                  <c:v>3.1533477321814253E-2</c:v>
                </c:pt>
                <c:pt idx="6">
                  <c:v>4.4653705953827463E-2</c:v>
                </c:pt>
                <c:pt idx="7">
                  <c:v>5.5087296809151115E-2</c:v>
                </c:pt>
                <c:pt idx="8">
                  <c:v>6.381856540084388E-2</c:v>
                </c:pt>
                <c:pt idx="9">
                  <c:v>5.5159733394621928E-2</c:v>
                </c:pt>
                <c:pt idx="10">
                  <c:v>8.7250482936252413E-2</c:v>
                </c:pt>
                <c:pt idx="11">
                  <c:v>8.0536912751677847E-2</c:v>
                </c:pt>
                <c:pt idx="12">
                  <c:v>4.1739565108722822E-2</c:v>
                </c:pt>
                <c:pt idx="13">
                  <c:v>6.3420621931260232E-2</c:v>
                </c:pt>
                <c:pt idx="14">
                  <c:v>8.523654159869494E-2</c:v>
                </c:pt>
                <c:pt idx="15">
                  <c:v>0.10753255895811334</c:v>
                </c:pt>
                <c:pt idx="16">
                  <c:v>7.6275836839217126E-2</c:v>
                </c:pt>
                <c:pt idx="17">
                  <c:v>9.0932914046121596E-2</c:v>
                </c:pt>
                <c:pt idx="18">
                  <c:v>7.0095238095238099E-2</c:v>
                </c:pt>
                <c:pt idx="19">
                  <c:v>6.8230736117089977E-2</c:v>
                </c:pt>
                <c:pt idx="20">
                  <c:v>8.3058909623124774E-2</c:v>
                </c:pt>
                <c:pt idx="21">
                  <c:v>8.459162663006177E-2</c:v>
                </c:pt>
                <c:pt idx="22">
                  <c:v>0.10756105720976915</c:v>
                </c:pt>
                <c:pt idx="23">
                  <c:v>0.10942295887047268</c:v>
                </c:pt>
                <c:pt idx="24">
                  <c:v>0.11642821904292057</c:v>
                </c:pt>
                <c:pt idx="25">
                  <c:v>0.10969851071558299</c:v>
                </c:pt>
                <c:pt idx="26">
                  <c:v>8.4174190122145512E-2</c:v>
                </c:pt>
                <c:pt idx="27">
                  <c:v>0.10122053872053872</c:v>
                </c:pt>
                <c:pt idx="28">
                  <c:v>0.12200268559370804</c:v>
                </c:pt>
                <c:pt idx="29">
                  <c:v>0.13093858632676708</c:v>
                </c:pt>
                <c:pt idx="30">
                  <c:v>0.15253665936288555</c:v>
                </c:pt>
                <c:pt idx="31">
                  <c:v>0.15271739130434783</c:v>
                </c:pt>
                <c:pt idx="32">
                  <c:v>0.20046216060080879</c:v>
                </c:pt>
                <c:pt idx="33">
                  <c:v>0.17335243553008595</c:v>
                </c:pt>
                <c:pt idx="34">
                  <c:v>0.16216696269982239</c:v>
                </c:pt>
                <c:pt idx="35">
                  <c:v>0.19246789309267615</c:v>
                </c:pt>
                <c:pt idx="36">
                  <c:v>0.18914883026381285</c:v>
                </c:pt>
                <c:pt idx="37">
                  <c:v>0.26310541310541313</c:v>
                </c:pt>
                <c:pt idx="38">
                  <c:v>0.22750059680114587</c:v>
                </c:pt>
                <c:pt idx="39">
                  <c:v>0.22168340838240388</c:v>
                </c:pt>
                <c:pt idx="40">
                  <c:v>0.17869964100518548</c:v>
                </c:pt>
                <c:pt idx="41">
                  <c:v>0.21131571131571131</c:v>
                </c:pt>
                <c:pt idx="42">
                  <c:v>0.22171353826030085</c:v>
                </c:pt>
                <c:pt idx="43">
                  <c:v>0.20898412288627857</c:v>
                </c:pt>
                <c:pt idx="44">
                  <c:v>0.23347381095725467</c:v>
                </c:pt>
                <c:pt idx="45">
                  <c:v>0.23049273625879887</c:v>
                </c:pt>
                <c:pt idx="46">
                  <c:v>0.23677750502120062</c:v>
                </c:pt>
                <c:pt idx="47">
                  <c:v>0.22355803635322744</c:v>
                </c:pt>
                <c:pt idx="48">
                  <c:v>0.23075300569500107</c:v>
                </c:pt>
                <c:pt idx="49">
                  <c:v>0.26367655185116967</c:v>
                </c:pt>
                <c:pt idx="50">
                  <c:v>0.25145944062037118</c:v>
                </c:pt>
                <c:pt idx="51">
                  <c:v>0.26895640686922062</c:v>
                </c:pt>
                <c:pt idx="52">
                  <c:v>0.25181141439205956</c:v>
                </c:pt>
                <c:pt idx="53">
                  <c:v>0.27597061909758658</c:v>
                </c:pt>
                <c:pt idx="54">
                  <c:v>0.25109247667414669</c:v>
                </c:pt>
                <c:pt idx="55">
                  <c:v>0.26664290170216559</c:v>
                </c:pt>
                <c:pt idx="56">
                  <c:v>0.24514540115563133</c:v>
                </c:pt>
                <c:pt idx="57">
                  <c:v>0.23316475911631621</c:v>
                </c:pt>
                <c:pt idx="58">
                  <c:v>0.23367844613673311</c:v>
                </c:pt>
                <c:pt idx="59">
                  <c:v>0.24862451987958062</c:v>
                </c:pt>
                <c:pt idx="60">
                  <c:v>0.27481431465226197</c:v>
                </c:pt>
                <c:pt idx="61">
                  <c:v>0.22058267120696179</c:v>
                </c:pt>
                <c:pt idx="62">
                  <c:v>0.22136687945925648</c:v>
                </c:pt>
                <c:pt idx="63">
                  <c:v>0.26773888363292336</c:v>
                </c:pt>
                <c:pt idx="64">
                  <c:v>0.23893405600722675</c:v>
                </c:pt>
                <c:pt idx="65">
                  <c:v>0.24656876859583454</c:v>
                </c:pt>
                <c:pt idx="66">
                  <c:v>0.26059293353188034</c:v>
                </c:pt>
                <c:pt idx="67">
                  <c:v>0.23122847301951779</c:v>
                </c:pt>
                <c:pt idx="68">
                  <c:v>0.18471776044056906</c:v>
                </c:pt>
                <c:pt idx="69">
                  <c:v>0.20007486430844096</c:v>
                </c:pt>
                <c:pt idx="70">
                  <c:v>0.20447746791469651</c:v>
                </c:pt>
                <c:pt idx="71">
                  <c:v>0.20783198424852331</c:v>
                </c:pt>
                <c:pt idx="72">
                  <c:v>0.20551908312006231</c:v>
                </c:pt>
                <c:pt idx="73">
                  <c:v>0.23603680719024181</c:v>
                </c:pt>
                <c:pt idx="74">
                  <c:v>0.21549454682211358</c:v>
                </c:pt>
                <c:pt idx="75">
                  <c:v>0.15752021563342319</c:v>
                </c:pt>
                <c:pt idx="76">
                  <c:v>0.22074468085106383</c:v>
                </c:pt>
                <c:pt idx="77">
                  <c:v>0.17831140630987355</c:v>
                </c:pt>
                <c:pt idx="78">
                  <c:v>0.20884227296866703</c:v>
                </c:pt>
                <c:pt idx="79">
                  <c:v>0.21113689095127611</c:v>
                </c:pt>
                <c:pt idx="80">
                  <c:v>0.20120589548905762</c:v>
                </c:pt>
                <c:pt idx="81">
                  <c:v>0.21180555555555555</c:v>
                </c:pt>
                <c:pt idx="82">
                  <c:v>0.1301025748377643</c:v>
                </c:pt>
                <c:pt idx="83">
                  <c:v>0.19529029638652051</c:v>
                </c:pt>
                <c:pt idx="84">
                  <c:v>0.18100056211354693</c:v>
                </c:pt>
                <c:pt idx="85">
                  <c:v>0.1639239495127017</c:v>
                </c:pt>
                <c:pt idx="86">
                  <c:v>0.17483980646004968</c:v>
                </c:pt>
                <c:pt idx="87">
                  <c:v>0.22031507171408418</c:v>
                </c:pt>
                <c:pt idx="88">
                  <c:v>0.19578745811393011</c:v>
                </c:pt>
                <c:pt idx="89">
                  <c:v>0.11072106261859582</c:v>
                </c:pt>
                <c:pt idx="90">
                  <c:v>0.18864292589027912</c:v>
                </c:pt>
                <c:pt idx="91">
                  <c:v>0.17603513174404015</c:v>
                </c:pt>
                <c:pt idx="92">
                  <c:v>0.19580419580419581</c:v>
                </c:pt>
                <c:pt idx="93">
                  <c:v>0.19766888677450048</c:v>
                </c:pt>
                <c:pt idx="94">
                  <c:v>0.26813746287653795</c:v>
                </c:pt>
                <c:pt idx="95">
                  <c:v>0.16248955722639932</c:v>
                </c:pt>
                <c:pt idx="96">
                  <c:v>0.12799559269121294</c:v>
                </c:pt>
                <c:pt idx="97">
                  <c:v>0.18702602992416478</c:v>
                </c:pt>
                <c:pt idx="98">
                  <c:v>0.19619995935785409</c:v>
                </c:pt>
                <c:pt idx="99">
                  <c:v>0.20244026436197254</c:v>
                </c:pt>
                <c:pt idx="100">
                  <c:v>0.18572702943800179</c:v>
                </c:pt>
                <c:pt idx="101">
                  <c:v>0.20852700753325853</c:v>
                </c:pt>
                <c:pt idx="102">
                  <c:v>0.21627475247524752</c:v>
                </c:pt>
                <c:pt idx="103">
                  <c:v>0.13662790697674418</c:v>
                </c:pt>
                <c:pt idx="104">
                  <c:v>0.19534220532319391</c:v>
                </c:pt>
                <c:pt idx="105">
                  <c:v>0.18188617156532794</c:v>
                </c:pt>
                <c:pt idx="106">
                  <c:v>0.17297297297297298</c:v>
                </c:pt>
                <c:pt idx="107">
                  <c:v>0.17700717687302972</c:v>
                </c:pt>
                <c:pt idx="108">
                  <c:v>0.17518567059851464</c:v>
                </c:pt>
                <c:pt idx="109">
                  <c:v>0.1854268624252311</c:v>
                </c:pt>
                <c:pt idx="110">
                  <c:v>0.1421776205116306</c:v>
                </c:pt>
                <c:pt idx="111">
                  <c:v>0.16742057647801389</c:v>
                </c:pt>
                <c:pt idx="112">
                  <c:v>0.18041260081094329</c:v>
                </c:pt>
                <c:pt idx="113">
                  <c:v>0.23367029548989113</c:v>
                </c:pt>
                <c:pt idx="114">
                  <c:v>0.21515151515151515</c:v>
                </c:pt>
                <c:pt idx="115">
                  <c:v>0.18538248455145961</c:v>
                </c:pt>
                <c:pt idx="116">
                  <c:v>0.19269846736697091</c:v>
                </c:pt>
                <c:pt idx="117">
                  <c:v>0.19901706021918428</c:v>
                </c:pt>
                <c:pt idx="118">
                  <c:v>0.26670179135932559</c:v>
                </c:pt>
                <c:pt idx="119">
                  <c:v>0.26725614810721193</c:v>
                </c:pt>
                <c:pt idx="120">
                  <c:v>0.29860659880153057</c:v>
                </c:pt>
                <c:pt idx="121">
                  <c:v>0.35259928963513076</c:v>
                </c:pt>
                <c:pt idx="122">
                  <c:v>0.20348251546985177</c:v>
                </c:pt>
                <c:pt idx="123">
                  <c:v>0.25681341719077566</c:v>
                </c:pt>
                <c:pt idx="124">
                  <c:v>0.19450689082201153</c:v>
                </c:pt>
                <c:pt idx="125">
                  <c:v>0.24638249865110118</c:v>
                </c:pt>
                <c:pt idx="126">
                  <c:v>0.28586100650462171</c:v>
                </c:pt>
                <c:pt idx="127">
                  <c:v>0.25888296379455517</c:v>
                </c:pt>
                <c:pt idx="128">
                  <c:v>0.22357333333333335</c:v>
                </c:pt>
                <c:pt idx="129">
                  <c:v>0.28071012694473607</c:v>
                </c:pt>
                <c:pt idx="130">
                  <c:v>0.23416359163591635</c:v>
                </c:pt>
                <c:pt idx="131">
                  <c:v>0.15410778443113773</c:v>
                </c:pt>
                <c:pt idx="132">
                  <c:v>0.20411965635027429</c:v>
                </c:pt>
                <c:pt idx="133">
                  <c:v>0.2257700753753932</c:v>
                </c:pt>
                <c:pt idx="134">
                  <c:v>0.17712892334625485</c:v>
                </c:pt>
                <c:pt idx="135">
                  <c:v>0.20709361927767631</c:v>
                </c:pt>
                <c:pt idx="136">
                  <c:v>0.23960880195599021</c:v>
                </c:pt>
                <c:pt idx="137">
                  <c:v>0.22273684210526315</c:v>
                </c:pt>
                <c:pt idx="138">
                  <c:v>0.15924258043513645</c:v>
                </c:pt>
                <c:pt idx="139">
                  <c:v>0.2203023758099352</c:v>
                </c:pt>
                <c:pt idx="140">
                  <c:v>0.20335262422670125</c:v>
                </c:pt>
                <c:pt idx="141">
                  <c:v>0.19526627218934911</c:v>
                </c:pt>
                <c:pt idx="142">
                  <c:v>0.19136027181167334</c:v>
                </c:pt>
                <c:pt idx="143">
                  <c:v>0.22305084745762713</c:v>
                </c:pt>
                <c:pt idx="144">
                  <c:v>0.20542797494780793</c:v>
                </c:pt>
                <c:pt idx="145">
                  <c:v>0.14756750725284534</c:v>
                </c:pt>
                <c:pt idx="146">
                  <c:v>0.221</c:v>
                </c:pt>
                <c:pt idx="147">
                  <c:v>0.18349286617301788</c:v>
                </c:pt>
                <c:pt idx="148">
                  <c:v>0.21862634256642172</c:v>
                </c:pt>
                <c:pt idx="149">
                  <c:v>0.19006618637614947</c:v>
                </c:pt>
                <c:pt idx="150">
                  <c:v>0.2036808300395257</c:v>
                </c:pt>
                <c:pt idx="151">
                  <c:v>0.20215359609914668</c:v>
                </c:pt>
                <c:pt idx="152">
                  <c:v>0.14868697478991597</c:v>
                </c:pt>
                <c:pt idx="153">
                  <c:v>0.19881287846993226</c:v>
                </c:pt>
                <c:pt idx="154">
                  <c:v>0.21584459657129484</c:v>
                </c:pt>
                <c:pt idx="155">
                  <c:v>0.19219373953368543</c:v>
                </c:pt>
                <c:pt idx="156">
                  <c:v>0.18794026486334178</c:v>
                </c:pt>
                <c:pt idx="157">
                  <c:v>0.23582740417718615</c:v>
                </c:pt>
                <c:pt idx="158">
                  <c:v>0.17715355805243446</c:v>
                </c:pt>
                <c:pt idx="159">
                  <c:v>0.16422349691948163</c:v>
                </c:pt>
                <c:pt idx="160">
                  <c:v>0.21533875338753389</c:v>
                </c:pt>
                <c:pt idx="161">
                  <c:v>0.20467632175885536</c:v>
                </c:pt>
                <c:pt idx="162">
                  <c:v>0.20445445445445445</c:v>
                </c:pt>
                <c:pt idx="163">
                  <c:v>0.18876591034864415</c:v>
                </c:pt>
                <c:pt idx="164">
                  <c:v>0.21645912290200325</c:v>
                </c:pt>
                <c:pt idx="165">
                  <c:v>0.19846771251368114</c:v>
                </c:pt>
                <c:pt idx="166">
                  <c:v>0.17273722801504546</c:v>
                </c:pt>
                <c:pt idx="167">
                  <c:v>0.23285494363609277</c:v>
                </c:pt>
                <c:pt idx="168">
                  <c:v>0.20141106190132865</c:v>
                </c:pt>
                <c:pt idx="169">
                  <c:v>0.21550537744023651</c:v>
                </c:pt>
                <c:pt idx="170">
                  <c:v>0.19088848594741614</c:v>
                </c:pt>
                <c:pt idx="171">
                  <c:v>0.24638205499276411</c:v>
                </c:pt>
                <c:pt idx="172">
                  <c:v>0.22536253329387393</c:v>
                </c:pt>
                <c:pt idx="173">
                  <c:v>0.17910624211853721</c:v>
                </c:pt>
                <c:pt idx="174">
                  <c:v>0.24001141552511415</c:v>
                </c:pt>
                <c:pt idx="175">
                  <c:v>0.20218803981245373</c:v>
                </c:pt>
                <c:pt idx="176">
                  <c:v>0.22205726405090137</c:v>
                </c:pt>
                <c:pt idx="177">
                  <c:v>0.20420290425406321</c:v>
                </c:pt>
                <c:pt idx="178">
                  <c:v>0.2182437547312642</c:v>
                </c:pt>
                <c:pt idx="179">
                  <c:v>0.21234567901234569</c:v>
                </c:pt>
                <c:pt idx="180">
                  <c:v>0.17176375106061165</c:v>
                </c:pt>
                <c:pt idx="181">
                  <c:v>0.2216822566501023</c:v>
                </c:pt>
                <c:pt idx="182">
                  <c:v>0.20960579619819258</c:v>
                </c:pt>
                <c:pt idx="183">
                  <c:v>0.19143733260878004</c:v>
                </c:pt>
                <c:pt idx="184">
                  <c:v>0.16781518905987788</c:v>
                </c:pt>
                <c:pt idx="185">
                  <c:v>0.26241299303944315</c:v>
                </c:pt>
                <c:pt idx="186">
                  <c:v>0.16878172588832488</c:v>
                </c:pt>
                <c:pt idx="187">
                  <c:v>0.12627786673235619</c:v>
                </c:pt>
                <c:pt idx="188">
                  <c:v>0.17495285701457691</c:v>
                </c:pt>
                <c:pt idx="189">
                  <c:v>0.16129319822898405</c:v>
                </c:pt>
                <c:pt idx="190">
                  <c:v>0.12301257803610419</c:v>
                </c:pt>
                <c:pt idx="191">
                  <c:v>0.16490137629225599</c:v>
                </c:pt>
                <c:pt idx="192">
                  <c:v>0.21851978756210383</c:v>
                </c:pt>
                <c:pt idx="193">
                  <c:v>0.15467806841046278</c:v>
                </c:pt>
                <c:pt idx="194">
                  <c:v>0.11821864492043739</c:v>
                </c:pt>
                <c:pt idx="195">
                  <c:v>0.15453160481761477</c:v>
                </c:pt>
                <c:pt idx="196">
                  <c:v>0.13702464253118346</c:v>
                </c:pt>
                <c:pt idx="197">
                  <c:v>0.13015205435134261</c:v>
                </c:pt>
                <c:pt idx="198">
                  <c:v>0.13233848953594177</c:v>
                </c:pt>
                <c:pt idx="199">
                  <c:v>0.20498895434462444</c:v>
                </c:pt>
                <c:pt idx="200">
                  <c:v>0.12503138337936229</c:v>
                </c:pt>
                <c:pt idx="201">
                  <c:v>9.5075508864084043E-2</c:v>
                </c:pt>
                <c:pt idx="202">
                  <c:v>0.12949805179922072</c:v>
                </c:pt>
                <c:pt idx="203">
                  <c:v>0.10677476531215126</c:v>
                </c:pt>
                <c:pt idx="204">
                  <c:v>0.10073890802099703</c:v>
                </c:pt>
                <c:pt idx="205">
                  <c:v>0.11838429303119664</c:v>
                </c:pt>
                <c:pt idx="206">
                  <c:v>0.18426647767540752</c:v>
                </c:pt>
                <c:pt idx="207">
                  <c:v>0.1250852079072938</c:v>
                </c:pt>
                <c:pt idx="208">
                  <c:v>8.1306035059547699E-2</c:v>
                </c:pt>
                <c:pt idx="209">
                  <c:v>0.10696579077838374</c:v>
                </c:pt>
                <c:pt idx="210">
                  <c:v>9.1280295047418331E-2</c:v>
                </c:pt>
                <c:pt idx="211">
                  <c:v>7.3841059602649001E-2</c:v>
                </c:pt>
                <c:pt idx="212">
                  <c:v>0.14630241168818173</c:v>
                </c:pt>
                <c:pt idx="213">
                  <c:v>0.15576862621817039</c:v>
                </c:pt>
                <c:pt idx="214">
                  <c:v>0.14320262566937295</c:v>
                </c:pt>
                <c:pt idx="215">
                  <c:v>8.9296102385107615E-2</c:v>
                </c:pt>
                <c:pt idx="216">
                  <c:v>5.2170212765957444E-2</c:v>
                </c:pt>
                <c:pt idx="217">
                  <c:v>7.7344970955090964E-2</c:v>
                </c:pt>
                <c:pt idx="218">
                  <c:v>6.6467324735211469E-2</c:v>
                </c:pt>
                <c:pt idx="219">
                  <c:v>8.1414398834986801E-2</c:v>
                </c:pt>
                <c:pt idx="220">
                  <c:v>0.12263210368893319</c:v>
                </c:pt>
                <c:pt idx="221">
                  <c:v>6.5758572099577264E-2</c:v>
                </c:pt>
                <c:pt idx="222">
                  <c:v>4.821640739410351E-2</c:v>
                </c:pt>
                <c:pt idx="223">
                  <c:v>6.43639167309175E-2</c:v>
                </c:pt>
                <c:pt idx="224">
                  <c:v>5.2972212451635595E-2</c:v>
                </c:pt>
                <c:pt idx="225">
                  <c:v>4.6773414570717389E-2</c:v>
                </c:pt>
                <c:pt idx="226">
                  <c:v>6.816027144354074E-2</c:v>
                </c:pt>
                <c:pt idx="227">
                  <c:v>9.8876063183475096E-2</c:v>
                </c:pt>
                <c:pt idx="228">
                  <c:v>5.5547477097571615E-2</c:v>
                </c:pt>
                <c:pt idx="229">
                  <c:v>4.1177959665850986E-2</c:v>
                </c:pt>
                <c:pt idx="230">
                  <c:v>4.7343246672957411E-2</c:v>
                </c:pt>
                <c:pt idx="231">
                  <c:v>4.299834066806147E-2</c:v>
                </c:pt>
                <c:pt idx="232">
                  <c:v>3.7669004410382477E-2</c:v>
                </c:pt>
                <c:pt idx="233">
                  <c:v>5.5377957015688782E-2</c:v>
                </c:pt>
                <c:pt idx="234">
                  <c:v>8.545401966454598E-2</c:v>
                </c:pt>
                <c:pt idx="235">
                  <c:v>6.3032367972742753E-2</c:v>
                </c:pt>
                <c:pt idx="236">
                  <c:v>3.1406578026592025E-2</c:v>
                </c:pt>
                <c:pt idx="237">
                  <c:v>4.1062255677963365E-2</c:v>
                </c:pt>
                <c:pt idx="238">
                  <c:v>3.5993403599340362E-2</c:v>
                </c:pt>
                <c:pt idx="239">
                  <c:v>3.1635856295779557E-2</c:v>
                </c:pt>
                <c:pt idx="240">
                  <c:v>4.5603534273906225E-2</c:v>
                </c:pt>
                <c:pt idx="241">
                  <c:v>9.6160438806993487E-2</c:v>
                </c:pt>
                <c:pt idx="242">
                  <c:v>3.2287344398340252E-2</c:v>
                </c:pt>
                <c:pt idx="243">
                  <c:v>2.4144107778086132E-2</c:v>
                </c:pt>
                <c:pt idx="244">
                  <c:v>3.1930867526736739E-2</c:v>
                </c:pt>
                <c:pt idx="245">
                  <c:v>2.8583632933470972E-2</c:v>
                </c:pt>
                <c:pt idx="246">
                  <c:v>2.4009517286131439E-2</c:v>
                </c:pt>
                <c:pt idx="247">
                  <c:v>3.6523684466491589E-2</c:v>
                </c:pt>
                <c:pt idx="248">
                  <c:v>5.5743815655709926E-2</c:v>
                </c:pt>
                <c:pt idx="249">
                  <c:v>2.4526198439241916E-2</c:v>
                </c:pt>
                <c:pt idx="250">
                  <c:v>1.7906913647238735E-2</c:v>
                </c:pt>
                <c:pt idx="251">
                  <c:v>2.0314210289099219E-2</c:v>
                </c:pt>
                <c:pt idx="252">
                  <c:v>1.8704562890439484E-2</c:v>
                </c:pt>
                <c:pt idx="253">
                  <c:v>1.7872648335745298E-2</c:v>
                </c:pt>
                <c:pt idx="254">
                  <c:v>2.1986650961915981E-2</c:v>
                </c:pt>
                <c:pt idx="255">
                  <c:v>4.1423657843577093E-2</c:v>
                </c:pt>
                <c:pt idx="256">
                  <c:v>1.5778546712802769E-2</c:v>
                </c:pt>
                <c:pt idx="257">
                  <c:v>1.1116584916572065E-2</c:v>
                </c:pt>
                <c:pt idx="258">
                  <c:v>1.4136594094840442E-2</c:v>
                </c:pt>
                <c:pt idx="259">
                  <c:v>1.2082064326115333E-2</c:v>
                </c:pt>
                <c:pt idx="260">
                  <c:v>1.0036344236604315E-2</c:v>
                </c:pt>
                <c:pt idx="261">
                  <c:v>1.2390087929656275E-2</c:v>
                </c:pt>
                <c:pt idx="262">
                  <c:v>2.2944256236526024E-2</c:v>
                </c:pt>
                <c:pt idx="263">
                  <c:v>1.3107591480065538E-2</c:v>
                </c:pt>
                <c:pt idx="264">
                  <c:v>8.8480004021818364E-3</c:v>
                </c:pt>
                <c:pt idx="265">
                  <c:v>1.0848804339521735E-2</c:v>
                </c:pt>
                <c:pt idx="266">
                  <c:v>9.1111111111111115E-3</c:v>
                </c:pt>
                <c:pt idx="267">
                  <c:v>1.0061437093758348E-2</c:v>
                </c:pt>
                <c:pt idx="268">
                  <c:v>1.0003125976867771E-2</c:v>
                </c:pt>
                <c:pt idx="269">
                  <c:v>1.7562533262373604E-2</c:v>
                </c:pt>
                <c:pt idx="270">
                  <c:v>1.0673536989326464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2C4-4F8B-BFF0-E6161AC7AB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4862472"/>
        <c:axId val="414859336"/>
      </c:lineChart>
      <c:dateAx>
        <c:axId val="414862472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4859336"/>
        <c:crosses val="autoZero"/>
        <c:auto val="1"/>
        <c:lblOffset val="100"/>
        <c:baseTimeUnit val="days"/>
        <c:majorUnit val="3"/>
      </c:dateAx>
      <c:valAx>
        <c:axId val="414859336"/>
        <c:scaling>
          <c:orientation val="minMax"/>
          <c:max val="0.5"/>
        </c:scaling>
        <c:delete val="0"/>
        <c:axPos val="l"/>
        <c:numFmt formatCode="0\ %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4862472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5578069204330972E-2"/>
          <c:y val="8.3481760709576552E-2"/>
          <c:w val="0.91740097734358894"/>
          <c:h val="0.74178962412014737"/>
        </c:manualLayout>
      </c:layout>
      <c:lineChart>
        <c:grouping val="standard"/>
        <c:varyColors val="0"/>
        <c:ser>
          <c:idx val="0"/>
          <c:order val="0"/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List1!$A$2:$A$48</c:f>
              <c:numCache>
                <c:formatCode>m/d/yyyy</c:formatCode>
                <c:ptCount val="47"/>
                <c:pt idx="0">
                  <c:v>44298</c:v>
                </c:pt>
                <c:pt idx="1">
                  <c:v>44299</c:v>
                </c:pt>
                <c:pt idx="2">
                  <c:v>44300</c:v>
                </c:pt>
                <c:pt idx="3">
                  <c:v>44301</c:v>
                </c:pt>
                <c:pt idx="4">
                  <c:v>44302</c:v>
                </c:pt>
                <c:pt idx="5">
                  <c:v>44303</c:v>
                </c:pt>
                <c:pt idx="6">
                  <c:v>44304</c:v>
                </c:pt>
                <c:pt idx="7">
                  <c:v>44305</c:v>
                </c:pt>
                <c:pt idx="8">
                  <c:v>44306</c:v>
                </c:pt>
                <c:pt idx="9">
                  <c:v>44307</c:v>
                </c:pt>
                <c:pt idx="10">
                  <c:v>44308</c:v>
                </c:pt>
                <c:pt idx="11">
                  <c:v>44309</c:v>
                </c:pt>
                <c:pt idx="12">
                  <c:v>44310</c:v>
                </c:pt>
                <c:pt idx="13">
                  <c:v>44311</c:v>
                </c:pt>
                <c:pt idx="14">
                  <c:v>44312</c:v>
                </c:pt>
                <c:pt idx="15">
                  <c:v>44313</c:v>
                </c:pt>
                <c:pt idx="16">
                  <c:v>44314</c:v>
                </c:pt>
                <c:pt idx="17">
                  <c:v>44315</c:v>
                </c:pt>
                <c:pt idx="18">
                  <c:v>44316</c:v>
                </c:pt>
                <c:pt idx="19">
                  <c:v>44317</c:v>
                </c:pt>
                <c:pt idx="20">
                  <c:v>44318</c:v>
                </c:pt>
                <c:pt idx="21">
                  <c:v>44319</c:v>
                </c:pt>
                <c:pt idx="22">
                  <c:v>44320</c:v>
                </c:pt>
                <c:pt idx="23">
                  <c:v>44321</c:v>
                </c:pt>
                <c:pt idx="24">
                  <c:v>44322</c:v>
                </c:pt>
                <c:pt idx="25">
                  <c:v>44323</c:v>
                </c:pt>
                <c:pt idx="26">
                  <c:v>44324</c:v>
                </c:pt>
                <c:pt idx="27">
                  <c:v>44325</c:v>
                </c:pt>
                <c:pt idx="28">
                  <c:v>44326</c:v>
                </c:pt>
                <c:pt idx="29">
                  <c:v>44327</c:v>
                </c:pt>
                <c:pt idx="30">
                  <c:v>44328</c:v>
                </c:pt>
                <c:pt idx="31">
                  <c:v>44329</c:v>
                </c:pt>
                <c:pt idx="32">
                  <c:v>44330</c:v>
                </c:pt>
                <c:pt idx="33">
                  <c:v>44331</c:v>
                </c:pt>
                <c:pt idx="34">
                  <c:v>44332</c:v>
                </c:pt>
                <c:pt idx="35">
                  <c:v>44333</c:v>
                </c:pt>
                <c:pt idx="36">
                  <c:v>44334</c:v>
                </c:pt>
                <c:pt idx="37">
                  <c:v>44335</c:v>
                </c:pt>
                <c:pt idx="38">
                  <c:v>44336</c:v>
                </c:pt>
                <c:pt idx="39">
                  <c:v>44337</c:v>
                </c:pt>
                <c:pt idx="40">
                  <c:v>44338</c:v>
                </c:pt>
                <c:pt idx="41">
                  <c:v>44339</c:v>
                </c:pt>
                <c:pt idx="42">
                  <c:v>44340</c:v>
                </c:pt>
                <c:pt idx="43">
                  <c:v>44341</c:v>
                </c:pt>
                <c:pt idx="44">
                  <c:v>44342</c:v>
                </c:pt>
                <c:pt idx="45">
                  <c:v>44343</c:v>
                </c:pt>
                <c:pt idx="46">
                  <c:v>44344</c:v>
                </c:pt>
              </c:numCache>
            </c:numRef>
          </c:cat>
          <c:val>
            <c:numRef>
              <c:f>List1!$B$2:$B$48</c:f>
              <c:numCache>
                <c:formatCode>General</c:formatCode>
                <c:ptCount val="47"/>
                <c:pt idx="0">
                  <c:v>380074</c:v>
                </c:pt>
                <c:pt idx="1">
                  <c:v>400266</c:v>
                </c:pt>
                <c:pt idx="2">
                  <c:v>418771</c:v>
                </c:pt>
                <c:pt idx="3">
                  <c:v>785857</c:v>
                </c:pt>
                <c:pt idx="4">
                  <c:v>799538</c:v>
                </c:pt>
                <c:pt idx="5">
                  <c:v>799695</c:v>
                </c:pt>
                <c:pt idx="6">
                  <c:v>800741</c:v>
                </c:pt>
                <c:pt idx="7">
                  <c:v>1209018</c:v>
                </c:pt>
                <c:pt idx="8">
                  <c:v>1234433</c:v>
                </c:pt>
                <c:pt idx="9">
                  <c:v>1260580</c:v>
                </c:pt>
                <c:pt idx="10">
                  <c:v>1644355</c:v>
                </c:pt>
                <c:pt idx="11">
                  <c:v>1662523</c:v>
                </c:pt>
                <c:pt idx="12">
                  <c:v>1662664</c:v>
                </c:pt>
                <c:pt idx="13">
                  <c:v>1665873</c:v>
                </c:pt>
                <c:pt idx="14">
                  <c:v>2103054</c:v>
                </c:pt>
                <c:pt idx="15">
                  <c:v>2149719</c:v>
                </c:pt>
                <c:pt idx="16">
                  <c:v>2197815</c:v>
                </c:pt>
                <c:pt idx="17">
                  <c:v>2620675</c:v>
                </c:pt>
                <c:pt idx="18">
                  <c:v>2659902</c:v>
                </c:pt>
                <c:pt idx="19">
                  <c:v>2660067</c:v>
                </c:pt>
                <c:pt idx="20">
                  <c:v>2663394</c:v>
                </c:pt>
                <c:pt idx="21">
                  <c:v>3135780</c:v>
                </c:pt>
                <c:pt idx="22">
                  <c:v>3168741</c:v>
                </c:pt>
                <c:pt idx="23">
                  <c:v>3199547</c:v>
                </c:pt>
                <c:pt idx="24">
                  <c:v>3304407</c:v>
                </c:pt>
                <c:pt idx="25">
                  <c:v>3326012</c:v>
                </c:pt>
                <c:pt idx="26">
                  <c:v>3326603</c:v>
                </c:pt>
                <c:pt idx="27">
                  <c:v>3330124</c:v>
                </c:pt>
                <c:pt idx="28">
                  <c:v>3843569</c:v>
                </c:pt>
                <c:pt idx="29">
                  <c:v>3879037</c:v>
                </c:pt>
                <c:pt idx="30">
                  <c:v>3905239</c:v>
                </c:pt>
                <c:pt idx="31">
                  <c:v>4088742</c:v>
                </c:pt>
                <c:pt idx="32">
                  <c:v>4102496</c:v>
                </c:pt>
                <c:pt idx="33">
                  <c:v>4102522</c:v>
                </c:pt>
                <c:pt idx="34">
                  <c:v>4698722</c:v>
                </c:pt>
                <c:pt idx="35">
                  <c:v>4871992</c:v>
                </c:pt>
                <c:pt idx="36">
                  <c:v>4915558</c:v>
                </c:pt>
                <c:pt idx="37">
                  <c:v>4955576</c:v>
                </c:pt>
                <c:pt idx="38">
                  <c:v>5070066</c:v>
                </c:pt>
                <c:pt idx="39">
                  <c:v>5090195</c:v>
                </c:pt>
                <c:pt idx="40">
                  <c:v>5106691</c:v>
                </c:pt>
                <c:pt idx="41">
                  <c:v>5114175</c:v>
                </c:pt>
                <c:pt idx="42">
                  <c:v>5956713</c:v>
                </c:pt>
                <c:pt idx="43">
                  <c:v>6046619</c:v>
                </c:pt>
                <c:pt idx="44">
                  <c:v>6107443</c:v>
                </c:pt>
                <c:pt idx="45">
                  <c:v>6141760</c:v>
                </c:pt>
                <c:pt idx="46">
                  <c:v>61535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1-578A-4B66-9E45-FC701E9D0FDA}"/>
            </c:ext>
          </c:extLst>
        </c:ser>
        <c:ser>
          <c:idx val="1"/>
          <c:order val="1"/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578A-4B66-9E45-FC701E9D0FDA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578A-4B66-9E45-FC701E9D0FDA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578A-4B66-9E45-FC701E9D0FDA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578A-4B66-9E45-FC701E9D0FDA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9-578A-4B66-9E45-FC701E9D0FDA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A-578A-4B66-9E45-FC701E9D0FDA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B-578A-4B66-9E45-FC701E9D0FDA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C-578A-4B66-9E45-FC701E9D0FDA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List1!$A$2:$A$48</c:f>
              <c:numCache>
                <c:formatCode>m/d/yyyy</c:formatCode>
                <c:ptCount val="47"/>
                <c:pt idx="0">
                  <c:v>44298</c:v>
                </c:pt>
                <c:pt idx="1">
                  <c:v>44299</c:v>
                </c:pt>
                <c:pt idx="2">
                  <c:v>44300</c:v>
                </c:pt>
                <c:pt idx="3">
                  <c:v>44301</c:v>
                </c:pt>
                <c:pt idx="4">
                  <c:v>44302</c:v>
                </c:pt>
                <c:pt idx="5">
                  <c:v>44303</c:v>
                </c:pt>
                <c:pt idx="6">
                  <c:v>44304</c:v>
                </c:pt>
                <c:pt idx="7">
                  <c:v>44305</c:v>
                </c:pt>
                <c:pt idx="8">
                  <c:v>44306</c:v>
                </c:pt>
                <c:pt idx="9">
                  <c:v>44307</c:v>
                </c:pt>
                <c:pt idx="10">
                  <c:v>44308</c:v>
                </c:pt>
                <c:pt idx="11">
                  <c:v>44309</c:v>
                </c:pt>
                <c:pt idx="12">
                  <c:v>44310</c:v>
                </c:pt>
                <c:pt idx="13">
                  <c:v>44311</c:v>
                </c:pt>
                <c:pt idx="14">
                  <c:v>44312</c:v>
                </c:pt>
                <c:pt idx="15">
                  <c:v>44313</c:v>
                </c:pt>
                <c:pt idx="16">
                  <c:v>44314</c:v>
                </c:pt>
                <c:pt idx="17">
                  <c:v>44315</c:v>
                </c:pt>
                <c:pt idx="18">
                  <c:v>44316</c:v>
                </c:pt>
                <c:pt idx="19">
                  <c:v>44317</c:v>
                </c:pt>
                <c:pt idx="20">
                  <c:v>44318</c:v>
                </c:pt>
                <c:pt idx="21">
                  <c:v>44319</c:v>
                </c:pt>
                <c:pt idx="22">
                  <c:v>44320</c:v>
                </c:pt>
                <c:pt idx="23">
                  <c:v>44321</c:v>
                </c:pt>
                <c:pt idx="24">
                  <c:v>44322</c:v>
                </c:pt>
                <c:pt idx="25">
                  <c:v>44323</c:v>
                </c:pt>
                <c:pt idx="26">
                  <c:v>44324</c:v>
                </c:pt>
                <c:pt idx="27">
                  <c:v>44325</c:v>
                </c:pt>
                <c:pt idx="28">
                  <c:v>44326</c:v>
                </c:pt>
                <c:pt idx="29">
                  <c:v>44327</c:v>
                </c:pt>
                <c:pt idx="30">
                  <c:v>44328</c:v>
                </c:pt>
                <c:pt idx="31">
                  <c:v>44329</c:v>
                </c:pt>
                <c:pt idx="32">
                  <c:v>44330</c:v>
                </c:pt>
                <c:pt idx="33">
                  <c:v>44331</c:v>
                </c:pt>
                <c:pt idx="34">
                  <c:v>44332</c:v>
                </c:pt>
                <c:pt idx="35">
                  <c:v>44333</c:v>
                </c:pt>
                <c:pt idx="36">
                  <c:v>44334</c:v>
                </c:pt>
                <c:pt idx="37">
                  <c:v>44335</c:v>
                </c:pt>
                <c:pt idx="38">
                  <c:v>44336</c:v>
                </c:pt>
                <c:pt idx="39">
                  <c:v>44337</c:v>
                </c:pt>
                <c:pt idx="40">
                  <c:v>44338</c:v>
                </c:pt>
                <c:pt idx="41">
                  <c:v>44339</c:v>
                </c:pt>
                <c:pt idx="42">
                  <c:v>44340</c:v>
                </c:pt>
                <c:pt idx="43">
                  <c:v>44341</c:v>
                </c:pt>
                <c:pt idx="44">
                  <c:v>44342</c:v>
                </c:pt>
                <c:pt idx="45">
                  <c:v>44343</c:v>
                </c:pt>
                <c:pt idx="46">
                  <c:v>44344</c:v>
                </c:pt>
              </c:numCache>
            </c:numRef>
          </c:cat>
          <c:val>
            <c:numRef>
              <c:f>List1!$C$2:$C$48</c:f>
              <c:numCache>
                <c:formatCode>General</c:formatCode>
                <c:ptCount val="47"/>
                <c:pt idx="0">
                  <c:v>147838</c:v>
                </c:pt>
                <c:pt idx="1">
                  <c:v>160889</c:v>
                </c:pt>
                <c:pt idx="2">
                  <c:v>171139</c:v>
                </c:pt>
                <c:pt idx="3">
                  <c:v>280026</c:v>
                </c:pt>
                <c:pt idx="4">
                  <c:v>287848</c:v>
                </c:pt>
                <c:pt idx="5">
                  <c:v>287925</c:v>
                </c:pt>
                <c:pt idx="6">
                  <c:v>288226</c:v>
                </c:pt>
                <c:pt idx="7">
                  <c:v>432044</c:v>
                </c:pt>
                <c:pt idx="8">
                  <c:v>443327</c:v>
                </c:pt>
                <c:pt idx="9">
                  <c:v>453390</c:v>
                </c:pt>
                <c:pt idx="10">
                  <c:v>560060</c:v>
                </c:pt>
                <c:pt idx="11">
                  <c:v>567250</c:v>
                </c:pt>
                <c:pt idx="12">
                  <c:v>567349</c:v>
                </c:pt>
                <c:pt idx="13">
                  <c:v>567718</c:v>
                </c:pt>
                <c:pt idx="14">
                  <c:v>700427</c:v>
                </c:pt>
                <c:pt idx="15">
                  <c:v>711391</c:v>
                </c:pt>
                <c:pt idx="16">
                  <c:v>721090</c:v>
                </c:pt>
                <c:pt idx="17">
                  <c:v>815397</c:v>
                </c:pt>
                <c:pt idx="18">
                  <c:v>822639</c:v>
                </c:pt>
                <c:pt idx="19">
                  <c:v>822702</c:v>
                </c:pt>
                <c:pt idx="20">
                  <c:v>823016</c:v>
                </c:pt>
                <c:pt idx="21">
                  <c:v>951222</c:v>
                </c:pt>
                <c:pt idx="22">
                  <c:v>960945</c:v>
                </c:pt>
                <c:pt idx="23">
                  <c:v>966691</c:v>
                </c:pt>
                <c:pt idx="24">
                  <c:v>974278</c:v>
                </c:pt>
                <c:pt idx="25">
                  <c:v>977769</c:v>
                </c:pt>
                <c:pt idx="26">
                  <c:v>977826</c:v>
                </c:pt>
                <c:pt idx="27">
                  <c:v>978152</c:v>
                </c:pt>
                <c:pt idx="28">
                  <c:v>1101070</c:v>
                </c:pt>
                <c:pt idx="29">
                  <c:v>1110134</c:v>
                </c:pt>
                <c:pt idx="30">
                  <c:v>1114207</c:v>
                </c:pt>
                <c:pt idx="31">
                  <c:v>1119856</c:v>
                </c:pt>
                <c:pt idx="32">
                  <c:v>1121574</c:v>
                </c:pt>
                <c:pt idx="33">
                  <c:v>1121586</c:v>
                </c:pt>
                <c:pt idx="34">
                  <c:v>1218244</c:v>
                </c:pt>
                <c:pt idx="35">
                  <c:v>1249114</c:v>
                </c:pt>
                <c:pt idx="36">
                  <c:v>1257503</c:v>
                </c:pt>
                <c:pt idx="37">
                  <c:v>1263983</c:v>
                </c:pt>
                <c:pt idx="38">
                  <c:v>1269116</c:v>
                </c:pt>
                <c:pt idx="39">
                  <c:v>1271209</c:v>
                </c:pt>
                <c:pt idx="40">
                  <c:v>1273090</c:v>
                </c:pt>
                <c:pt idx="41">
                  <c:v>1273293</c:v>
                </c:pt>
                <c:pt idx="42">
                  <c:v>1363578</c:v>
                </c:pt>
                <c:pt idx="43">
                  <c:v>1374784</c:v>
                </c:pt>
                <c:pt idx="44">
                  <c:v>1380014</c:v>
                </c:pt>
                <c:pt idx="45">
                  <c:v>1384073</c:v>
                </c:pt>
                <c:pt idx="46">
                  <c:v>138547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2-578A-4B66-9E45-FC701E9D0FD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dateAx>
        <c:axId val="48844526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Offset val="100"/>
        <c:baseTimeUnit val="days"/>
        <c:majorUnit val="1"/>
      </c:date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8999220866411182E-2"/>
          <c:y val="2.3315360590843423E-2"/>
          <c:w val="0.79539090943282509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0–4 roky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30.01 - 05.02</c:v>
                </c:pt>
                <c:pt idx="1">
                  <c:v>06.02 - 12.02</c:v>
                </c:pt>
                <c:pt idx="2">
                  <c:v>13.02 - 19.02</c:v>
                </c:pt>
                <c:pt idx="3">
                  <c:v>20.02 - 26.02</c:v>
                </c:pt>
                <c:pt idx="4">
                  <c:v>27.02 - 05.03</c:v>
                </c:pt>
                <c:pt idx="5">
                  <c:v>06.03 - 12.03</c:v>
                </c:pt>
                <c:pt idx="6">
                  <c:v>13.03 - 19.03</c:v>
                </c:pt>
                <c:pt idx="7">
                  <c:v>20.03 - 26.03</c:v>
                </c:pt>
                <c:pt idx="8">
                  <c:v>27.03 - 02.04</c:v>
                </c:pt>
                <c:pt idx="9">
                  <c:v>03.04 - 09.04</c:v>
                </c:pt>
                <c:pt idx="10">
                  <c:v>10.04 - 16.04</c:v>
                </c:pt>
                <c:pt idx="11">
                  <c:v>17.04 - 23.04</c:v>
                </c:pt>
                <c:pt idx="12">
                  <c:v>24.04 - 30.04</c:v>
                </c:pt>
                <c:pt idx="13">
                  <c:v>01.05 - 07.05</c:v>
                </c:pt>
                <c:pt idx="14">
                  <c:v>08.05 - 14.05</c:v>
                </c:pt>
                <c:pt idx="15">
                  <c:v>15.05 - 21.05</c:v>
                </c:pt>
                <c:pt idx="16">
                  <c:v>22.05 - 28.05</c:v>
                </c:pt>
              </c:strCache>
            </c:strRef>
          </c:cat>
          <c:val>
            <c:numRef>
              <c:f>List1!$B$2:$R$2</c:f>
              <c:numCache>
                <c:formatCode>General</c:formatCode>
                <c:ptCount val="17"/>
                <c:pt idx="0">
                  <c:v>243.45009999999999</c:v>
                </c:pt>
                <c:pt idx="1">
                  <c:v>262.66520000000003</c:v>
                </c:pt>
                <c:pt idx="2">
                  <c:v>320.66309999999999</c:v>
                </c:pt>
                <c:pt idx="3">
                  <c:v>437.54032530000001</c:v>
                </c:pt>
                <c:pt idx="4">
                  <c:v>440.36090000000002</c:v>
                </c:pt>
                <c:pt idx="5">
                  <c:v>400.69670000000002</c:v>
                </c:pt>
                <c:pt idx="6">
                  <c:v>337.41019999999997</c:v>
                </c:pt>
                <c:pt idx="7">
                  <c:v>280.6463</c:v>
                </c:pt>
                <c:pt idx="8">
                  <c:v>210.30850000000001</c:v>
                </c:pt>
                <c:pt idx="9">
                  <c:v>153.89709999999999</c:v>
                </c:pt>
                <c:pt idx="10">
                  <c:v>140.32320000000001</c:v>
                </c:pt>
                <c:pt idx="11">
                  <c:v>108.7681</c:v>
                </c:pt>
                <c:pt idx="12">
                  <c:v>94.488969999999995</c:v>
                </c:pt>
                <c:pt idx="13">
                  <c:v>81.091279999999998</c:v>
                </c:pt>
                <c:pt idx="14">
                  <c:v>57.997889999999998</c:v>
                </c:pt>
                <c:pt idx="15">
                  <c:v>42.308489999999999</c:v>
                </c:pt>
                <c:pt idx="16">
                  <c:v>24.5036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230-405E-9EEC-CAC00A93CD0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5–11 let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30.01 - 05.02</c:v>
                </c:pt>
                <c:pt idx="1">
                  <c:v>06.02 - 12.02</c:v>
                </c:pt>
                <c:pt idx="2">
                  <c:v>13.02 - 19.02</c:v>
                </c:pt>
                <c:pt idx="3">
                  <c:v>20.02 - 26.02</c:v>
                </c:pt>
                <c:pt idx="4">
                  <c:v>27.02 - 05.03</c:v>
                </c:pt>
                <c:pt idx="5">
                  <c:v>06.03 - 12.03</c:v>
                </c:pt>
                <c:pt idx="6">
                  <c:v>13.03 - 19.03</c:v>
                </c:pt>
                <c:pt idx="7">
                  <c:v>20.03 - 26.03</c:v>
                </c:pt>
                <c:pt idx="8">
                  <c:v>27.03 - 02.04</c:v>
                </c:pt>
                <c:pt idx="9">
                  <c:v>03.04 - 09.04</c:v>
                </c:pt>
                <c:pt idx="10">
                  <c:v>10.04 - 16.04</c:v>
                </c:pt>
                <c:pt idx="11">
                  <c:v>17.04 - 23.04</c:v>
                </c:pt>
                <c:pt idx="12">
                  <c:v>24.04 - 30.04</c:v>
                </c:pt>
                <c:pt idx="13">
                  <c:v>01.05 - 07.05</c:v>
                </c:pt>
                <c:pt idx="14">
                  <c:v>08.05 - 14.05</c:v>
                </c:pt>
                <c:pt idx="15">
                  <c:v>15.05 - 21.05</c:v>
                </c:pt>
                <c:pt idx="16">
                  <c:v>22.05 - 28.05</c:v>
                </c:pt>
              </c:strCache>
            </c:strRef>
          </c:cat>
          <c:val>
            <c:numRef>
              <c:f>List1!$B$3:$R$3</c:f>
              <c:numCache>
                <c:formatCode>General</c:formatCode>
                <c:ptCount val="17"/>
                <c:pt idx="0">
                  <c:v>442.08679999999998</c:v>
                </c:pt>
                <c:pt idx="1">
                  <c:v>483.09480000000002</c:v>
                </c:pt>
                <c:pt idx="2">
                  <c:v>613.99549999999999</c:v>
                </c:pt>
                <c:pt idx="3">
                  <c:v>773.90187820000006</c:v>
                </c:pt>
                <c:pt idx="4">
                  <c:v>729.51819999999998</c:v>
                </c:pt>
                <c:pt idx="5">
                  <c:v>588.99059999999997</c:v>
                </c:pt>
                <c:pt idx="6">
                  <c:v>467.2167</c:v>
                </c:pt>
                <c:pt idx="7">
                  <c:v>364.19650000000001</c:v>
                </c:pt>
                <c:pt idx="8">
                  <c:v>273.17860000000002</c:v>
                </c:pt>
                <c:pt idx="9">
                  <c:v>196.5386</c:v>
                </c:pt>
                <c:pt idx="10">
                  <c:v>201.53960000000001</c:v>
                </c:pt>
                <c:pt idx="11">
                  <c:v>172.40880000000001</c:v>
                </c:pt>
                <c:pt idx="12">
                  <c:v>151.27969999999999</c:v>
                </c:pt>
                <c:pt idx="13">
                  <c:v>119.8985</c:v>
                </c:pt>
                <c:pt idx="14">
                  <c:v>76.890090000000001</c:v>
                </c:pt>
                <c:pt idx="15">
                  <c:v>67.388220000000004</c:v>
                </c:pt>
                <c:pt idx="16">
                  <c:v>46.259079999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230-405E-9EEC-CAC00A93CD09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12–19 let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30.01 - 05.02</c:v>
                </c:pt>
                <c:pt idx="1">
                  <c:v>06.02 - 12.02</c:v>
                </c:pt>
                <c:pt idx="2">
                  <c:v>13.02 - 19.02</c:v>
                </c:pt>
                <c:pt idx="3">
                  <c:v>20.02 - 26.02</c:v>
                </c:pt>
                <c:pt idx="4">
                  <c:v>27.02 - 05.03</c:v>
                </c:pt>
                <c:pt idx="5">
                  <c:v>06.03 - 12.03</c:v>
                </c:pt>
                <c:pt idx="6">
                  <c:v>13.03 - 19.03</c:v>
                </c:pt>
                <c:pt idx="7">
                  <c:v>20.03 - 26.03</c:v>
                </c:pt>
                <c:pt idx="8">
                  <c:v>27.03 - 02.04</c:v>
                </c:pt>
                <c:pt idx="9">
                  <c:v>03.04 - 09.04</c:v>
                </c:pt>
                <c:pt idx="10">
                  <c:v>10.04 - 16.04</c:v>
                </c:pt>
                <c:pt idx="11">
                  <c:v>17.04 - 23.04</c:v>
                </c:pt>
                <c:pt idx="12">
                  <c:v>24.04 - 30.04</c:v>
                </c:pt>
                <c:pt idx="13">
                  <c:v>01.05 - 07.05</c:v>
                </c:pt>
                <c:pt idx="14">
                  <c:v>08.05 - 14.05</c:v>
                </c:pt>
                <c:pt idx="15">
                  <c:v>15.05 - 21.05</c:v>
                </c:pt>
                <c:pt idx="16">
                  <c:v>22.05 - 28.05</c:v>
                </c:pt>
              </c:strCache>
            </c:strRef>
          </c:cat>
          <c:val>
            <c:numRef>
              <c:f>List1!$B$4:$R$4</c:f>
              <c:numCache>
                <c:formatCode>General</c:formatCode>
                <c:ptCount val="17"/>
                <c:pt idx="0">
                  <c:v>379.32069999999999</c:v>
                </c:pt>
                <c:pt idx="1">
                  <c:v>404.34780000000001</c:v>
                </c:pt>
                <c:pt idx="2">
                  <c:v>510.6241</c:v>
                </c:pt>
                <c:pt idx="3">
                  <c:v>679.5273555</c:v>
                </c:pt>
                <c:pt idx="4">
                  <c:v>711.90840000000003</c:v>
                </c:pt>
                <c:pt idx="5">
                  <c:v>718.78790000000004</c:v>
                </c:pt>
                <c:pt idx="6">
                  <c:v>615.12109999999996</c:v>
                </c:pt>
                <c:pt idx="7">
                  <c:v>469.58440000000002</c:v>
                </c:pt>
                <c:pt idx="8">
                  <c:v>358.08920000000001</c:v>
                </c:pt>
                <c:pt idx="9">
                  <c:v>262.13220000000001</c:v>
                </c:pt>
                <c:pt idx="10">
                  <c:v>236.63069999999999</c:v>
                </c:pt>
                <c:pt idx="11">
                  <c:v>170.6825</c:v>
                </c:pt>
                <c:pt idx="12">
                  <c:v>151.11150000000001</c:v>
                </c:pt>
                <c:pt idx="13">
                  <c:v>120.0352</c:v>
                </c:pt>
                <c:pt idx="14">
                  <c:v>79.825779999999995</c:v>
                </c:pt>
                <c:pt idx="15">
                  <c:v>63.931789999999999</c:v>
                </c:pt>
                <c:pt idx="16">
                  <c:v>48.27503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230-405E-9EEC-CAC00A93CD09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  <c:pt idx="0">
                  <c:v>0–19 let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30.01 - 05.02</c:v>
                </c:pt>
                <c:pt idx="1">
                  <c:v>06.02 - 12.02</c:v>
                </c:pt>
                <c:pt idx="2">
                  <c:v>13.02 - 19.02</c:v>
                </c:pt>
                <c:pt idx="3">
                  <c:v>20.02 - 26.02</c:v>
                </c:pt>
                <c:pt idx="4">
                  <c:v>27.02 - 05.03</c:v>
                </c:pt>
                <c:pt idx="5">
                  <c:v>06.03 - 12.03</c:v>
                </c:pt>
                <c:pt idx="6">
                  <c:v>13.03 - 19.03</c:v>
                </c:pt>
                <c:pt idx="7">
                  <c:v>20.03 - 26.03</c:v>
                </c:pt>
                <c:pt idx="8">
                  <c:v>27.03 - 02.04</c:v>
                </c:pt>
                <c:pt idx="9">
                  <c:v>03.04 - 09.04</c:v>
                </c:pt>
                <c:pt idx="10">
                  <c:v>10.04 - 16.04</c:v>
                </c:pt>
                <c:pt idx="11">
                  <c:v>17.04 - 23.04</c:v>
                </c:pt>
                <c:pt idx="12">
                  <c:v>24.04 - 30.04</c:v>
                </c:pt>
                <c:pt idx="13">
                  <c:v>01.05 - 07.05</c:v>
                </c:pt>
                <c:pt idx="14">
                  <c:v>08.05 - 14.05</c:v>
                </c:pt>
                <c:pt idx="15">
                  <c:v>15.05 - 21.05</c:v>
                </c:pt>
                <c:pt idx="16">
                  <c:v>22.05 - 28.05</c:v>
                </c:pt>
              </c:strCache>
            </c:strRef>
          </c:cat>
          <c:val>
            <c:numRef>
              <c:f>List1!$B$5:$R$5</c:f>
              <c:numCache>
                <c:formatCode>General</c:formatCode>
                <c:ptCount val="17"/>
                <c:pt idx="0">
                  <c:v>367.1628</c:v>
                </c:pt>
                <c:pt idx="1">
                  <c:v>396.48160000000001</c:v>
                </c:pt>
                <c:pt idx="2">
                  <c:v>499.27809999999999</c:v>
                </c:pt>
                <c:pt idx="3">
                  <c:v>651.5726469</c:v>
                </c:pt>
                <c:pt idx="4">
                  <c:v>648.5865</c:v>
                </c:pt>
                <c:pt idx="5">
                  <c:v>590.17520000000002</c:v>
                </c:pt>
                <c:pt idx="6">
                  <c:v>490.31959999999998</c:v>
                </c:pt>
                <c:pt idx="7">
                  <c:v>382.95330000000001</c:v>
                </c:pt>
                <c:pt idx="8">
                  <c:v>289.43200000000002</c:v>
                </c:pt>
                <c:pt idx="9">
                  <c:v>210.61529999999999</c:v>
                </c:pt>
                <c:pt idx="10">
                  <c:v>199.21360000000001</c:v>
                </c:pt>
                <c:pt idx="11">
                  <c:v>155.41640000000001</c:v>
                </c:pt>
                <c:pt idx="12">
                  <c:v>136.63980000000001</c:v>
                </c:pt>
                <c:pt idx="13">
                  <c:v>109.9905</c:v>
                </c:pt>
                <c:pt idx="14">
                  <c:v>73.161100000000005</c:v>
                </c:pt>
                <c:pt idx="15">
                  <c:v>59.632860000000001</c:v>
                </c:pt>
                <c:pt idx="16">
                  <c:v>41.4443800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230-405E-9EEC-CAC00A93CD09}"/>
            </c:ext>
          </c:extLst>
        </c:ser>
        <c:ser>
          <c:idx val="4"/>
          <c:order val="4"/>
          <c:tx>
            <c:strRef>
              <c:f>List1!$A$6</c:f>
              <c:strCache>
                <c:ptCount val="1"/>
                <c:pt idx="0">
                  <c:v>Celá populace ČR</c:v>
                </c:pt>
              </c:strCache>
            </c:strRef>
          </c:tx>
          <c:spPr>
            <a:ln w="28575" cap="rnd">
              <a:solidFill>
                <a:schemeClr val="tx1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30.01 - 05.02</c:v>
                </c:pt>
                <c:pt idx="1">
                  <c:v>06.02 - 12.02</c:v>
                </c:pt>
                <c:pt idx="2">
                  <c:v>13.02 - 19.02</c:v>
                </c:pt>
                <c:pt idx="3">
                  <c:v>20.02 - 26.02</c:v>
                </c:pt>
                <c:pt idx="4">
                  <c:v>27.02 - 05.03</c:v>
                </c:pt>
                <c:pt idx="5">
                  <c:v>06.03 - 12.03</c:v>
                </c:pt>
                <c:pt idx="6">
                  <c:v>13.03 - 19.03</c:v>
                </c:pt>
                <c:pt idx="7">
                  <c:v>20.03 - 26.03</c:v>
                </c:pt>
                <c:pt idx="8">
                  <c:v>27.03 - 02.04</c:v>
                </c:pt>
                <c:pt idx="9">
                  <c:v>03.04 - 09.04</c:v>
                </c:pt>
                <c:pt idx="10">
                  <c:v>10.04 - 16.04</c:v>
                </c:pt>
                <c:pt idx="11">
                  <c:v>17.04 - 23.04</c:v>
                </c:pt>
                <c:pt idx="12">
                  <c:v>24.04 - 30.04</c:v>
                </c:pt>
                <c:pt idx="13">
                  <c:v>01.05 - 07.05</c:v>
                </c:pt>
                <c:pt idx="14">
                  <c:v>08.05 - 14.05</c:v>
                </c:pt>
                <c:pt idx="15">
                  <c:v>15.05 - 21.05</c:v>
                </c:pt>
                <c:pt idx="16">
                  <c:v>22.05 - 28.05</c:v>
                </c:pt>
              </c:strCache>
            </c:strRef>
          </c:cat>
          <c:val>
            <c:numRef>
              <c:f>List1!$B$6:$R$6</c:f>
              <c:numCache>
                <c:formatCode>General</c:formatCode>
                <c:ptCount val="17"/>
                <c:pt idx="0">
                  <c:v>461.54020000000003</c:v>
                </c:pt>
                <c:pt idx="1">
                  <c:v>492.60039999999998</c:v>
                </c:pt>
                <c:pt idx="2">
                  <c:v>593.03240000000005</c:v>
                </c:pt>
                <c:pt idx="3">
                  <c:v>759.23839559999999</c:v>
                </c:pt>
                <c:pt idx="4">
                  <c:v>790.25189999999998</c:v>
                </c:pt>
                <c:pt idx="5">
                  <c:v>746.31529999999998</c:v>
                </c:pt>
                <c:pt idx="6">
                  <c:v>629.28800000000001</c:v>
                </c:pt>
                <c:pt idx="7">
                  <c:v>481.69569999999999</c:v>
                </c:pt>
                <c:pt idx="8">
                  <c:v>360.90269999999998</c:v>
                </c:pt>
                <c:pt idx="9">
                  <c:v>263.87209999999999</c:v>
                </c:pt>
                <c:pt idx="10">
                  <c:v>208.45140000000001</c:v>
                </c:pt>
                <c:pt idx="11">
                  <c:v>165.48650000000001</c:v>
                </c:pt>
                <c:pt idx="12">
                  <c:v>138.58449999999999</c:v>
                </c:pt>
                <c:pt idx="13">
                  <c:v>106.4776</c:v>
                </c:pt>
                <c:pt idx="14">
                  <c:v>73.632630000000006</c:v>
                </c:pt>
                <c:pt idx="15">
                  <c:v>49.599240000000002</c:v>
                </c:pt>
                <c:pt idx="16">
                  <c:v>31.6115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230-405E-9EEC-CAC00A93CD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  <c:max val="12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4380214565155387"/>
          <c:y val="0.25415522984813471"/>
          <c:w val="0.14190389034991419"/>
          <c:h val="0.5028025214398994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um of PozitivnichZaku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5</c:f>
              <c:strCache>
                <c:ptCount val="14"/>
                <c:pt idx="0">
                  <c:v>Liberecký kraj</c:v>
                </c:pt>
                <c:pt idx="1">
                  <c:v>Zlínský kraj</c:v>
                </c:pt>
                <c:pt idx="2">
                  <c:v>Ústecký kraj</c:v>
                </c:pt>
                <c:pt idx="3">
                  <c:v>Jihočeský kraj</c:v>
                </c:pt>
                <c:pt idx="4">
                  <c:v>Olomoucký kraj</c:v>
                </c:pt>
                <c:pt idx="5">
                  <c:v>Kraj Vysočina</c:v>
                </c:pt>
                <c:pt idx="6">
                  <c:v>Moravskoslezský kraj</c:v>
                </c:pt>
                <c:pt idx="7">
                  <c:v>Jihomoravský kraj</c:v>
                </c:pt>
                <c:pt idx="8">
                  <c:v>Hlavní město Praha</c:v>
                </c:pt>
                <c:pt idx="9">
                  <c:v>Středočeský kraj</c:v>
                </c:pt>
                <c:pt idx="10">
                  <c:v>Pardubický kraj</c:v>
                </c:pt>
                <c:pt idx="11">
                  <c:v>Plzeňský kraj</c:v>
                </c:pt>
                <c:pt idx="12">
                  <c:v>Královéhradecký kraj</c:v>
                </c:pt>
                <c:pt idx="13">
                  <c:v>Karlovarský kraj</c:v>
                </c:pt>
              </c:strCache>
            </c:strRef>
          </c:cat>
          <c:val>
            <c:numRef>
              <c:f>Sheet1!$B$2:$B$15</c:f>
              <c:numCache>
                <c:formatCode>General</c:formatCode>
                <c:ptCount val="14"/>
                <c:pt idx="0">
                  <c:v>71.295642920000006</c:v>
                </c:pt>
                <c:pt idx="1">
                  <c:v>59.25660422</c:v>
                </c:pt>
                <c:pt idx="2">
                  <c:v>46.000297379999999</c:v>
                </c:pt>
                <c:pt idx="3">
                  <c:v>41.770538729999998</c:v>
                </c:pt>
                <c:pt idx="4">
                  <c:v>41.45734143</c:v>
                </c:pt>
                <c:pt idx="5">
                  <c:v>37.246360379999999</c:v>
                </c:pt>
                <c:pt idx="6">
                  <c:v>36.72783055</c:v>
                </c:pt>
                <c:pt idx="7">
                  <c:v>34.812430050000003</c:v>
                </c:pt>
                <c:pt idx="8">
                  <c:v>32.409541369999999</c:v>
                </c:pt>
                <c:pt idx="9">
                  <c:v>32.044823909999998</c:v>
                </c:pt>
                <c:pt idx="10">
                  <c:v>30.428822180000001</c:v>
                </c:pt>
                <c:pt idx="11">
                  <c:v>28.29904483</c:v>
                </c:pt>
                <c:pt idx="12">
                  <c:v>27.960878569999998</c:v>
                </c:pt>
                <c:pt idx="13">
                  <c:v>16.00068926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C08-40FB-B8E1-F503FBE633B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709227824"/>
        <c:axId val="493545440"/>
      </c:barChart>
      <c:catAx>
        <c:axId val="70922782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3545440"/>
        <c:crosses val="autoZero"/>
        <c:auto val="1"/>
        <c:lblAlgn val="ctr"/>
        <c:lblOffset val="100"/>
        <c:noMultiLvlLbl val="0"/>
      </c:catAx>
      <c:valAx>
        <c:axId val="493545440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092278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um of PozitivnichZamestnancu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5</c:f>
              <c:strCache>
                <c:ptCount val="14"/>
                <c:pt idx="0">
                  <c:v>Liberecký kraj</c:v>
                </c:pt>
                <c:pt idx="1">
                  <c:v>Kraj Vysočina</c:v>
                </c:pt>
                <c:pt idx="2">
                  <c:v>Zlínský kraj</c:v>
                </c:pt>
                <c:pt idx="3">
                  <c:v>Ústecký kraj</c:v>
                </c:pt>
                <c:pt idx="4">
                  <c:v>Olomoucký kraj</c:v>
                </c:pt>
                <c:pt idx="5">
                  <c:v>Jihočeský kraj</c:v>
                </c:pt>
                <c:pt idx="6">
                  <c:v>Středočeský kraj</c:v>
                </c:pt>
                <c:pt idx="7">
                  <c:v>Moravskoslezský kraj</c:v>
                </c:pt>
                <c:pt idx="8">
                  <c:v>Jihomoravský kraj</c:v>
                </c:pt>
                <c:pt idx="9">
                  <c:v>Pardubický kraj</c:v>
                </c:pt>
                <c:pt idx="10">
                  <c:v>Hlavní město Praha</c:v>
                </c:pt>
                <c:pt idx="11">
                  <c:v>Plzeňský kraj</c:v>
                </c:pt>
                <c:pt idx="12">
                  <c:v>Královéhradecký kraj</c:v>
                </c:pt>
                <c:pt idx="13">
                  <c:v>Karlovarský kraj</c:v>
                </c:pt>
              </c:strCache>
            </c:strRef>
          </c:cat>
          <c:val>
            <c:numRef>
              <c:f>Sheet1!$B$2:$B$15</c:f>
              <c:numCache>
                <c:formatCode>General</c:formatCode>
                <c:ptCount val="14"/>
                <c:pt idx="0">
                  <c:v>69.300069300000004</c:v>
                </c:pt>
                <c:pt idx="1">
                  <c:v>68.437261460000002</c:v>
                </c:pt>
                <c:pt idx="2">
                  <c:v>47.221422400000002</c:v>
                </c:pt>
                <c:pt idx="3">
                  <c:v>42.696004449999997</c:v>
                </c:pt>
                <c:pt idx="4">
                  <c:v>41.268849830000001</c:v>
                </c:pt>
                <c:pt idx="5">
                  <c:v>36.248019300000003</c:v>
                </c:pt>
                <c:pt idx="6">
                  <c:v>34.605986129999998</c:v>
                </c:pt>
                <c:pt idx="7">
                  <c:v>33.773019820000002</c:v>
                </c:pt>
                <c:pt idx="8">
                  <c:v>32.186184699999998</c:v>
                </c:pt>
                <c:pt idx="9">
                  <c:v>27.673798739999999</c:v>
                </c:pt>
                <c:pt idx="10">
                  <c:v>26.916042650000001</c:v>
                </c:pt>
                <c:pt idx="11">
                  <c:v>24.017532800000001</c:v>
                </c:pt>
                <c:pt idx="12">
                  <c:v>14.74959722</c:v>
                </c:pt>
                <c:pt idx="13">
                  <c:v>7.073469773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64E-4523-BB6B-1705CAE86B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709227824"/>
        <c:axId val="493545440"/>
      </c:barChart>
      <c:catAx>
        <c:axId val="70922782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3545440"/>
        <c:crosses val="autoZero"/>
        <c:auto val="1"/>
        <c:lblAlgn val="ctr"/>
        <c:lblOffset val="100"/>
        <c:noMultiLvlLbl val="0"/>
      </c:catAx>
      <c:valAx>
        <c:axId val="493545440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092278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8316191038232933E-2"/>
          <c:y val="3.3169839791542172E-2"/>
          <c:w val="0.87325910066909118"/>
          <c:h val="0.73613490142608773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Zlínský kraj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31.1 - 6.2</c:v>
                </c:pt>
                <c:pt idx="1">
                  <c:v>7.2 - 13.2</c:v>
                </c:pt>
                <c:pt idx="2">
                  <c:v>14.2 - 20.2</c:v>
                </c:pt>
                <c:pt idx="3">
                  <c:v>21.2 - 27.2</c:v>
                </c:pt>
                <c:pt idx="4">
                  <c:v>28.2 - 6.3</c:v>
                </c:pt>
                <c:pt idx="5">
                  <c:v>7.3 - 13.3</c:v>
                </c:pt>
                <c:pt idx="6">
                  <c:v>14.3 - 20.3</c:v>
                </c:pt>
                <c:pt idx="7">
                  <c:v>21.3 - 27.3</c:v>
                </c:pt>
                <c:pt idx="8">
                  <c:v>28.3 - 3.4</c:v>
                </c:pt>
                <c:pt idx="9">
                  <c:v>4.4 - 10.4</c:v>
                </c:pt>
                <c:pt idx="10">
                  <c:v>11.4 - 17.4</c:v>
                </c:pt>
                <c:pt idx="11">
                  <c:v>18.4 - 24.4</c:v>
                </c:pt>
                <c:pt idx="12">
                  <c:v>25.4 - 1.5</c:v>
                </c:pt>
                <c:pt idx="13">
                  <c:v>2.5 - 8.5</c:v>
                </c:pt>
                <c:pt idx="14">
                  <c:v>9.5 - 15.5</c:v>
                </c:pt>
                <c:pt idx="15">
                  <c:v>16.5 - 22.5</c:v>
                </c:pt>
                <c:pt idx="16">
                  <c:v>23.5 - 29.5</c:v>
                </c:pt>
              </c:strCache>
            </c:strRef>
          </c:cat>
          <c:val>
            <c:numRef>
              <c:f>List1!$B$2:$R$2</c:f>
              <c:numCache>
                <c:formatCode>###0</c:formatCode>
                <c:ptCount val="17"/>
                <c:pt idx="0">
                  <c:v>267.87607370211992</c:v>
                </c:pt>
                <c:pt idx="1">
                  <c:v>218.57584392167831</c:v>
                </c:pt>
                <c:pt idx="2">
                  <c:v>282.01110461819064</c:v>
                </c:pt>
                <c:pt idx="3">
                  <c:v>393.19518926289294</c:v>
                </c:pt>
                <c:pt idx="4">
                  <c:v>424.22330590792615</c:v>
                </c:pt>
                <c:pt idx="5">
                  <c:v>466.62839865613819</c:v>
                </c:pt>
                <c:pt idx="6">
                  <c:v>418.70719628214243</c:v>
                </c:pt>
                <c:pt idx="7">
                  <c:v>397.84940675964793</c:v>
                </c:pt>
                <c:pt idx="8">
                  <c:v>392.67805398547569</c:v>
                </c:pt>
                <c:pt idx="9">
                  <c:v>322.69241310834525</c:v>
                </c:pt>
                <c:pt idx="10">
                  <c:v>284.9415378568882</c:v>
                </c:pt>
                <c:pt idx="11">
                  <c:v>268.56558740534291</c:v>
                </c:pt>
                <c:pt idx="12">
                  <c:v>216.33492438620368</c:v>
                </c:pt>
                <c:pt idx="13">
                  <c:v>148.41782461874215</c:v>
                </c:pt>
                <c:pt idx="14">
                  <c:v>107.7365161285875</c:v>
                </c:pt>
                <c:pt idx="15">
                  <c:v>69.296127173907479</c:v>
                </c:pt>
                <c:pt idx="16">
                  <c:v>48.7830945030244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BAD-4927-AF32-6D9FDB8C6377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31.1 - 6.2</c:v>
                </c:pt>
                <c:pt idx="1">
                  <c:v>7.2 - 13.2</c:v>
                </c:pt>
                <c:pt idx="2">
                  <c:v>14.2 - 20.2</c:v>
                </c:pt>
                <c:pt idx="3">
                  <c:v>21.2 - 27.2</c:v>
                </c:pt>
                <c:pt idx="4">
                  <c:v>28.2 - 6.3</c:v>
                </c:pt>
                <c:pt idx="5">
                  <c:v>7.3 - 13.3</c:v>
                </c:pt>
                <c:pt idx="6">
                  <c:v>14.3 - 20.3</c:v>
                </c:pt>
                <c:pt idx="7">
                  <c:v>21.3 - 27.3</c:v>
                </c:pt>
                <c:pt idx="8">
                  <c:v>28.3 - 3.4</c:v>
                </c:pt>
                <c:pt idx="9">
                  <c:v>4.4 - 10.4</c:v>
                </c:pt>
                <c:pt idx="10">
                  <c:v>11.4 - 17.4</c:v>
                </c:pt>
                <c:pt idx="11">
                  <c:v>18.4 - 24.4</c:v>
                </c:pt>
                <c:pt idx="12">
                  <c:v>25.4 - 1.5</c:v>
                </c:pt>
                <c:pt idx="13">
                  <c:v>2.5 - 8.5</c:v>
                </c:pt>
                <c:pt idx="14">
                  <c:v>9.5 - 15.5</c:v>
                </c:pt>
                <c:pt idx="15">
                  <c:v>16.5 - 22.5</c:v>
                </c:pt>
                <c:pt idx="16">
                  <c:v>23.5 - 29.5</c:v>
                </c:pt>
              </c:strCache>
            </c:strRef>
          </c:cat>
          <c:val>
            <c:numRef>
              <c:f>List1!$B$3:$R$3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BAD-4927-AF32-6D9FDB8C6377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31.1 - 6.2</c:v>
                </c:pt>
                <c:pt idx="1">
                  <c:v>7.2 - 13.2</c:v>
                </c:pt>
                <c:pt idx="2">
                  <c:v>14.2 - 20.2</c:v>
                </c:pt>
                <c:pt idx="3">
                  <c:v>21.2 - 27.2</c:v>
                </c:pt>
                <c:pt idx="4">
                  <c:v>28.2 - 6.3</c:v>
                </c:pt>
                <c:pt idx="5">
                  <c:v>7.3 - 13.3</c:v>
                </c:pt>
                <c:pt idx="6">
                  <c:v>14.3 - 20.3</c:v>
                </c:pt>
                <c:pt idx="7">
                  <c:v>21.3 - 27.3</c:v>
                </c:pt>
                <c:pt idx="8">
                  <c:v>28.3 - 3.4</c:v>
                </c:pt>
                <c:pt idx="9">
                  <c:v>4.4 - 10.4</c:v>
                </c:pt>
                <c:pt idx="10">
                  <c:v>11.4 - 17.4</c:v>
                </c:pt>
                <c:pt idx="11">
                  <c:v>18.4 - 24.4</c:v>
                </c:pt>
                <c:pt idx="12">
                  <c:v>25.4 - 1.5</c:v>
                </c:pt>
                <c:pt idx="13">
                  <c:v>2.5 - 8.5</c:v>
                </c:pt>
                <c:pt idx="14">
                  <c:v>9.5 - 15.5</c:v>
                </c:pt>
                <c:pt idx="15">
                  <c:v>16.5 - 22.5</c:v>
                </c:pt>
                <c:pt idx="16">
                  <c:v>23.5 - 29.5</c:v>
                </c:pt>
              </c:strCache>
            </c:strRef>
          </c:cat>
          <c:val>
            <c:numRef>
              <c:f>List1!$B$4:$R$4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BAD-4927-AF32-6D9FDB8C6377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31.1 - 6.2</c:v>
                </c:pt>
                <c:pt idx="1">
                  <c:v>7.2 - 13.2</c:v>
                </c:pt>
                <c:pt idx="2">
                  <c:v>14.2 - 20.2</c:v>
                </c:pt>
                <c:pt idx="3">
                  <c:v>21.2 - 27.2</c:v>
                </c:pt>
                <c:pt idx="4">
                  <c:v>28.2 - 6.3</c:v>
                </c:pt>
                <c:pt idx="5">
                  <c:v>7.3 - 13.3</c:v>
                </c:pt>
                <c:pt idx="6">
                  <c:v>14.3 - 20.3</c:v>
                </c:pt>
                <c:pt idx="7">
                  <c:v>21.3 - 27.3</c:v>
                </c:pt>
                <c:pt idx="8">
                  <c:v>28.3 - 3.4</c:v>
                </c:pt>
                <c:pt idx="9">
                  <c:v>4.4 - 10.4</c:v>
                </c:pt>
                <c:pt idx="10">
                  <c:v>11.4 - 17.4</c:v>
                </c:pt>
                <c:pt idx="11">
                  <c:v>18.4 - 24.4</c:v>
                </c:pt>
                <c:pt idx="12">
                  <c:v>25.4 - 1.5</c:v>
                </c:pt>
                <c:pt idx="13">
                  <c:v>2.5 - 8.5</c:v>
                </c:pt>
                <c:pt idx="14">
                  <c:v>9.5 - 15.5</c:v>
                </c:pt>
                <c:pt idx="15">
                  <c:v>16.5 - 22.5</c:v>
                </c:pt>
                <c:pt idx="16">
                  <c:v>23.5 - 29.5</c:v>
                </c:pt>
              </c:strCache>
            </c:strRef>
          </c:cat>
          <c:val>
            <c:numRef>
              <c:f>List1!$B$5:$R$5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BAD-4927-AF32-6D9FDB8C6377}"/>
            </c:ext>
          </c:extLst>
        </c:ser>
        <c:ser>
          <c:idx val="4"/>
          <c:order val="4"/>
          <c:tx>
            <c:strRef>
              <c:f>List1!$A$6</c:f>
              <c:strCache>
                <c:ptCount val="1"/>
              </c:strCache>
            </c:strRef>
          </c:tx>
          <c:spPr>
            <a:ln w="28575" cap="rnd">
              <a:solidFill>
                <a:schemeClr val="bg1">
                  <a:lumMod val="65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31.1 - 6.2</c:v>
                </c:pt>
                <c:pt idx="1">
                  <c:v>7.2 - 13.2</c:v>
                </c:pt>
                <c:pt idx="2">
                  <c:v>14.2 - 20.2</c:v>
                </c:pt>
                <c:pt idx="3">
                  <c:v>21.2 - 27.2</c:v>
                </c:pt>
                <c:pt idx="4">
                  <c:v>28.2 - 6.3</c:v>
                </c:pt>
                <c:pt idx="5">
                  <c:v>7.3 - 13.3</c:v>
                </c:pt>
                <c:pt idx="6">
                  <c:v>14.3 - 20.3</c:v>
                </c:pt>
                <c:pt idx="7">
                  <c:v>21.3 - 27.3</c:v>
                </c:pt>
                <c:pt idx="8">
                  <c:v>28.3 - 3.4</c:v>
                </c:pt>
                <c:pt idx="9">
                  <c:v>4.4 - 10.4</c:v>
                </c:pt>
                <c:pt idx="10">
                  <c:v>11.4 - 17.4</c:v>
                </c:pt>
                <c:pt idx="11">
                  <c:v>18.4 - 24.4</c:v>
                </c:pt>
                <c:pt idx="12">
                  <c:v>25.4 - 1.5</c:v>
                </c:pt>
                <c:pt idx="13">
                  <c:v>2.5 - 8.5</c:v>
                </c:pt>
                <c:pt idx="14">
                  <c:v>9.5 - 15.5</c:v>
                </c:pt>
                <c:pt idx="15">
                  <c:v>16.5 - 22.5</c:v>
                </c:pt>
                <c:pt idx="16">
                  <c:v>23.5 - 29.5</c:v>
                </c:pt>
              </c:strCache>
            </c:strRef>
          </c:cat>
          <c:val>
            <c:numRef>
              <c:f>List1!$B$6:$R$6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BAD-4927-AF32-6D9FDB8C6377}"/>
            </c:ext>
          </c:extLst>
        </c:ser>
        <c:ser>
          <c:idx val="5"/>
          <c:order val="5"/>
          <c:tx>
            <c:strRef>
              <c:f>List1!$A$7</c:f>
              <c:strCache>
                <c:ptCount val="1"/>
                <c:pt idx="0">
                  <c:v>Celá populace ČR</c:v>
                </c:pt>
              </c:strCache>
            </c:strRef>
          </c:tx>
          <c:spPr>
            <a:ln w="28575" cap="rnd">
              <a:solidFill>
                <a:schemeClr val="tx1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31.1 - 6.2</c:v>
                </c:pt>
                <c:pt idx="1">
                  <c:v>7.2 - 13.2</c:v>
                </c:pt>
                <c:pt idx="2">
                  <c:v>14.2 - 20.2</c:v>
                </c:pt>
                <c:pt idx="3">
                  <c:v>21.2 - 27.2</c:v>
                </c:pt>
                <c:pt idx="4">
                  <c:v>28.2 - 6.3</c:v>
                </c:pt>
                <c:pt idx="5">
                  <c:v>7.3 - 13.3</c:v>
                </c:pt>
                <c:pt idx="6">
                  <c:v>14.3 - 20.3</c:v>
                </c:pt>
                <c:pt idx="7">
                  <c:v>21.3 - 27.3</c:v>
                </c:pt>
                <c:pt idx="8">
                  <c:v>28.3 - 3.4</c:v>
                </c:pt>
                <c:pt idx="9">
                  <c:v>4.4 - 10.4</c:v>
                </c:pt>
                <c:pt idx="10">
                  <c:v>11.4 - 17.4</c:v>
                </c:pt>
                <c:pt idx="11">
                  <c:v>18.4 - 24.4</c:v>
                </c:pt>
                <c:pt idx="12">
                  <c:v>25.4 - 1.5</c:v>
                </c:pt>
                <c:pt idx="13">
                  <c:v>2.5 - 8.5</c:v>
                </c:pt>
                <c:pt idx="14">
                  <c:v>9.5 - 15.5</c:v>
                </c:pt>
                <c:pt idx="15">
                  <c:v>16.5 - 22.5</c:v>
                </c:pt>
                <c:pt idx="16">
                  <c:v>23.5 - 29.5</c:v>
                </c:pt>
              </c:strCache>
            </c:strRef>
          </c:cat>
          <c:val>
            <c:numRef>
              <c:f>List1!$B$7:$R$7</c:f>
              <c:numCache>
                <c:formatCode>###0</c:formatCode>
                <c:ptCount val="17"/>
                <c:pt idx="0">
                  <c:v>468.68851780409921</c:v>
                </c:pt>
                <c:pt idx="1">
                  <c:v>495.59993634701965</c:v>
                </c:pt>
                <c:pt idx="2">
                  <c:v>608.30084573804879</c:v>
                </c:pt>
                <c:pt idx="3">
                  <c:v>769.04050607670092</c:v>
                </c:pt>
                <c:pt idx="4">
                  <c:v>802.45551743416058</c:v>
                </c:pt>
                <c:pt idx="5">
                  <c:v>726.00092489312749</c:v>
                </c:pt>
                <c:pt idx="6">
                  <c:v>615.36509310556539</c:v>
                </c:pt>
                <c:pt idx="7">
                  <c:v>467.70737233638852</c:v>
                </c:pt>
                <c:pt idx="8">
                  <c:v>343.99894522190095</c:v>
                </c:pt>
                <c:pt idx="9">
                  <c:v>264.28321203104861</c:v>
                </c:pt>
                <c:pt idx="10">
                  <c:v>202.25612998663675</c:v>
                </c:pt>
                <c:pt idx="11">
                  <c:v>163.29998279724944</c:v>
                </c:pt>
                <c:pt idx="12">
                  <c:v>137.31364426674185</c:v>
                </c:pt>
                <c:pt idx="13">
                  <c:v>102.31011167584596</c:v>
                </c:pt>
                <c:pt idx="14">
                  <c:v>72.4365682446943</c:v>
                </c:pt>
                <c:pt idx="15">
                  <c:v>47.132359420309349</c:v>
                </c:pt>
                <c:pt idx="16">
                  <c:v>30.5930501074728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BAD-4927-AF32-6D9FDB8C63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5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  <c:max val="1400"/>
        </c:scaling>
        <c:delete val="0"/>
        <c:axPos val="l"/>
        <c:numFmt formatCode="###0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-4.691280497940653E-2"/>
                  <c:y val="-8.9243512370193817E-2"/>
                </c:manualLayout>
              </c:layout>
              <c:numFmt formatCode="###0\,00%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1-1CFE-413A-BD75-2190FD42981C}"/>
                </c:ext>
              </c:extLst>
            </c:dLbl>
            <c:numFmt formatCode="###0\,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30.01 - 05.02</c:v>
                </c:pt>
                <c:pt idx="1">
                  <c:v>06.02 - 12.02</c:v>
                </c:pt>
                <c:pt idx="2">
                  <c:v>13.02 - 19.02</c:v>
                </c:pt>
                <c:pt idx="3">
                  <c:v>20.02 - 26.02</c:v>
                </c:pt>
                <c:pt idx="4">
                  <c:v>27.02 - 05.03</c:v>
                </c:pt>
                <c:pt idx="5">
                  <c:v>06.03 - 12.03</c:v>
                </c:pt>
                <c:pt idx="6">
                  <c:v>13.03 - 19.03</c:v>
                </c:pt>
                <c:pt idx="7">
                  <c:v>20.03 - 26.03</c:v>
                </c:pt>
                <c:pt idx="8">
                  <c:v>27.03 - 02.04</c:v>
                </c:pt>
                <c:pt idx="9">
                  <c:v>03.04 - 09.04</c:v>
                </c:pt>
                <c:pt idx="10">
                  <c:v>10.04 - 16.04</c:v>
                </c:pt>
                <c:pt idx="11">
                  <c:v>17.04 - 23.04</c:v>
                </c:pt>
                <c:pt idx="12">
                  <c:v>24.04 - 30.04</c:v>
                </c:pt>
                <c:pt idx="13">
                  <c:v>01.05 - 07.05</c:v>
                </c:pt>
                <c:pt idx="14">
                  <c:v>08.05 - 14.05</c:v>
                </c:pt>
                <c:pt idx="15">
                  <c:v>15.05 - 21.05</c:v>
                </c:pt>
                <c:pt idx="16">
                  <c:v>22.05 - 28.05</c:v>
                </c:pt>
              </c:strCache>
            </c:strRef>
          </c:cat>
          <c:val>
            <c:numRef>
              <c:f>List1!$B$2:$B$18</c:f>
              <c:numCache>
                <c:formatCode>General</c:formatCode>
                <c:ptCount val="17"/>
                <c:pt idx="0">
                  <c:v>17.638380000000002</c:v>
                </c:pt>
                <c:pt idx="1">
                  <c:v>20.408159999999999</c:v>
                </c:pt>
                <c:pt idx="2">
                  <c:v>19.559750000000001</c:v>
                </c:pt>
                <c:pt idx="3">
                  <c:v>21.341760000000001</c:v>
                </c:pt>
                <c:pt idx="4">
                  <c:v>18.83681</c:v>
                </c:pt>
                <c:pt idx="5">
                  <c:v>24.172190000000001</c:v>
                </c:pt>
                <c:pt idx="6">
                  <c:v>24.063749999999999</c:v>
                </c:pt>
                <c:pt idx="7">
                  <c:v>20.98039</c:v>
                </c:pt>
                <c:pt idx="8">
                  <c:v>20.12903</c:v>
                </c:pt>
                <c:pt idx="9">
                  <c:v>20.60519</c:v>
                </c:pt>
                <c:pt idx="10">
                  <c:v>17.169070000000001</c:v>
                </c:pt>
                <c:pt idx="11">
                  <c:v>15.739269999999999</c:v>
                </c:pt>
                <c:pt idx="12">
                  <c:v>11.024839999999999</c:v>
                </c:pt>
                <c:pt idx="13">
                  <c:v>10.37594</c:v>
                </c:pt>
                <c:pt idx="14">
                  <c:v>7.6258990000000004</c:v>
                </c:pt>
                <c:pt idx="15">
                  <c:v>2.95302</c:v>
                </c:pt>
                <c:pt idx="16">
                  <c:v>2.02020199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F86-4857-841A-55D66F44B67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-4.3003404564455852E-2"/>
                  <c:y val="-0.18788107867409221"/>
                </c:manualLayout>
              </c:layout>
              <c:numFmt formatCode="###0\,00%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F5DC-4226-9A77-4315FCD6D276}"/>
                </c:ext>
              </c:extLst>
            </c:dLbl>
            <c:numFmt formatCode="###0\,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30.01 - 05.02</c:v>
                </c:pt>
                <c:pt idx="1">
                  <c:v>06.02 - 12.02</c:v>
                </c:pt>
                <c:pt idx="2">
                  <c:v>13.02 - 19.02</c:v>
                </c:pt>
                <c:pt idx="3">
                  <c:v>20.02 - 26.02</c:v>
                </c:pt>
                <c:pt idx="4">
                  <c:v>27.02 - 05.03</c:v>
                </c:pt>
                <c:pt idx="5">
                  <c:v>06.03 - 12.03</c:v>
                </c:pt>
                <c:pt idx="6">
                  <c:v>13.03 - 19.03</c:v>
                </c:pt>
                <c:pt idx="7">
                  <c:v>20.03 - 26.03</c:v>
                </c:pt>
                <c:pt idx="8">
                  <c:v>27.03 - 02.04</c:v>
                </c:pt>
                <c:pt idx="9">
                  <c:v>03.04 - 09.04</c:v>
                </c:pt>
                <c:pt idx="10">
                  <c:v>10.04 - 16.04</c:v>
                </c:pt>
                <c:pt idx="11">
                  <c:v>17.04 - 23.04</c:v>
                </c:pt>
                <c:pt idx="12">
                  <c:v>24.04 - 30.04</c:v>
                </c:pt>
                <c:pt idx="13">
                  <c:v>01.05 - 07.05</c:v>
                </c:pt>
                <c:pt idx="14">
                  <c:v>08.05 - 14.05</c:v>
                </c:pt>
                <c:pt idx="15">
                  <c:v>15.05 - 21.05</c:v>
                </c:pt>
                <c:pt idx="16">
                  <c:v>22.05 - 28.05</c:v>
                </c:pt>
              </c:strCache>
            </c:strRef>
          </c:cat>
          <c:val>
            <c:numRef>
              <c:f>List1!$B$2:$B$18</c:f>
              <c:numCache>
                <c:formatCode>General</c:formatCode>
                <c:ptCount val="17"/>
                <c:pt idx="0">
                  <c:v>19.330290000000002</c:v>
                </c:pt>
                <c:pt idx="1">
                  <c:v>18.130310000000001</c:v>
                </c:pt>
                <c:pt idx="2">
                  <c:v>20.682829999999999</c:v>
                </c:pt>
                <c:pt idx="3">
                  <c:v>19.946349999999999</c:v>
                </c:pt>
                <c:pt idx="4">
                  <c:v>20.7989</c:v>
                </c:pt>
                <c:pt idx="5">
                  <c:v>27.92869</c:v>
                </c:pt>
                <c:pt idx="6">
                  <c:v>26.427309999999999</c:v>
                </c:pt>
                <c:pt idx="7">
                  <c:v>25.30696</c:v>
                </c:pt>
                <c:pt idx="8">
                  <c:v>20.645160000000001</c:v>
                </c:pt>
                <c:pt idx="9">
                  <c:v>21.481480000000001</c:v>
                </c:pt>
                <c:pt idx="10">
                  <c:v>18.10643</c:v>
                </c:pt>
                <c:pt idx="11">
                  <c:v>13.07588</c:v>
                </c:pt>
                <c:pt idx="12">
                  <c:v>8.7305329999999994</c:v>
                </c:pt>
                <c:pt idx="13">
                  <c:v>9.3709880000000005</c:v>
                </c:pt>
                <c:pt idx="14">
                  <c:v>4.7619049999999996</c:v>
                </c:pt>
                <c:pt idx="15">
                  <c:v>2.1319569999999999</c:v>
                </c:pt>
                <c:pt idx="16">
                  <c:v>0.816710999999999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5DC-4226-9A77-4315FCD6D27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-6.2550406639208522E-2"/>
                  <c:y val="-0.20666918654150146"/>
                </c:manualLayout>
              </c:layout>
              <c:numFmt formatCode="###0\,00%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23BA-40DA-B60C-C8A480E48534}"/>
                </c:ext>
              </c:extLst>
            </c:dLbl>
            <c:numFmt formatCode="###0\,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30.01 - 05.02</c:v>
                </c:pt>
                <c:pt idx="1">
                  <c:v>06.02 - 12.02</c:v>
                </c:pt>
                <c:pt idx="2">
                  <c:v>13.02 - 19.02</c:v>
                </c:pt>
                <c:pt idx="3">
                  <c:v>20.02 - 26.02</c:v>
                </c:pt>
                <c:pt idx="4">
                  <c:v>27.02 - 05.03</c:v>
                </c:pt>
                <c:pt idx="5">
                  <c:v>06.03 - 12.03</c:v>
                </c:pt>
                <c:pt idx="6">
                  <c:v>13.03 - 19.03</c:v>
                </c:pt>
                <c:pt idx="7">
                  <c:v>20.03 - 26.03</c:v>
                </c:pt>
                <c:pt idx="8">
                  <c:v>27.03 - 02.04</c:v>
                </c:pt>
                <c:pt idx="9">
                  <c:v>03.04 - 09.04</c:v>
                </c:pt>
                <c:pt idx="10">
                  <c:v>10.04 - 16.04</c:v>
                </c:pt>
                <c:pt idx="11">
                  <c:v>17.04 - 23.04</c:v>
                </c:pt>
                <c:pt idx="12">
                  <c:v>24.04 - 30.04</c:v>
                </c:pt>
                <c:pt idx="13">
                  <c:v>01.05 - 07.05</c:v>
                </c:pt>
                <c:pt idx="14">
                  <c:v>08.05 - 14.05</c:v>
                </c:pt>
                <c:pt idx="15">
                  <c:v>15.05 - 21.05</c:v>
                </c:pt>
                <c:pt idx="16">
                  <c:v>22.05 - 28.05</c:v>
                </c:pt>
              </c:strCache>
            </c:strRef>
          </c:cat>
          <c:val>
            <c:numRef>
              <c:f>List1!$B$2:$B$18</c:f>
              <c:numCache>
                <c:formatCode>General</c:formatCode>
                <c:ptCount val="17"/>
                <c:pt idx="0">
                  <c:v>26.930689999999998</c:v>
                </c:pt>
                <c:pt idx="1">
                  <c:v>27.20393</c:v>
                </c:pt>
                <c:pt idx="2">
                  <c:v>26.223559999999999</c:v>
                </c:pt>
                <c:pt idx="3">
                  <c:v>33.27655</c:v>
                </c:pt>
                <c:pt idx="4">
                  <c:v>29.94577</c:v>
                </c:pt>
                <c:pt idx="5">
                  <c:v>33.191830000000003</c:v>
                </c:pt>
                <c:pt idx="6">
                  <c:v>27.868849999999998</c:v>
                </c:pt>
                <c:pt idx="7">
                  <c:v>25.277080000000002</c:v>
                </c:pt>
                <c:pt idx="8">
                  <c:v>20</c:v>
                </c:pt>
                <c:pt idx="9">
                  <c:v>18.92285</c:v>
                </c:pt>
                <c:pt idx="10">
                  <c:v>16.22194</c:v>
                </c:pt>
                <c:pt idx="11">
                  <c:v>13.34975</c:v>
                </c:pt>
                <c:pt idx="12">
                  <c:v>11.581289999999999</c:v>
                </c:pt>
                <c:pt idx="13">
                  <c:v>6.4638780000000002</c:v>
                </c:pt>
                <c:pt idx="14">
                  <c:v>4.2979099999999999</c:v>
                </c:pt>
                <c:pt idx="15">
                  <c:v>1.783471</c:v>
                </c:pt>
                <c:pt idx="16">
                  <c:v>0.911062999999999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3BA-40DA-B60C-C8A480E485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D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-7.8188008299010653E-3"/>
                  <c:y val="-0.12681972810501224"/>
                </c:manualLayout>
              </c:layout>
              <c:numFmt formatCode="###0\,00%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61CE-4A2A-887C-F4A54C3D8656}"/>
                </c:ext>
              </c:extLst>
            </c:dLbl>
            <c:numFmt formatCode="###0\,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30.01 - 05.02</c:v>
                </c:pt>
                <c:pt idx="1">
                  <c:v>06.02 - 12.02</c:v>
                </c:pt>
                <c:pt idx="2">
                  <c:v>13.02 - 19.02</c:v>
                </c:pt>
                <c:pt idx="3">
                  <c:v>20.02 - 26.02</c:v>
                </c:pt>
                <c:pt idx="4">
                  <c:v>27.02 - 05.03</c:v>
                </c:pt>
                <c:pt idx="5">
                  <c:v>06.03 - 12.03</c:v>
                </c:pt>
                <c:pt idx="6">
                  <c:v>13.03 - 19.03</c:v>
                </c:pt>
                <c:pt idx="7">
                  <c:v>20.03 - 26.03</c:v>
                </c:pt>
                <c:pt idx="8">
                  <c:v>27.03 - 02.04</c:v>
                </c:pt>
                <c:pt idx="9">
                  <c:v>03.04 - 09.04</c:v>
                </c:pt>
                <c:pt idx="10">
                  <c:v>10.04 - 16.04</c:v>
                </c:pt>
                <c:pt idx="11">
                  <c:v>17.04 - 23.04</c:v>
                </c:pt>
                <c:pt idx="12">
                  <c:v>24.04 - 30.04</c:v>
                </c:pt>
                <c:pt idx="13">
                  <c:v>01.05 - 07.05</c:v>
                </c:pt>
                <c:pt idx="14">
                  <c:v>08.05 - 14.05</c:v>
                </c:pt>
                <c:pt idx="15">
                  <c:v>15.05 - 21.05</c:v>
                </c:pt>
                <c:pt idx="16">
                  <c:v>22.05 - 28.05</c:v>
                </c:pt>
              </c:strCache>
            </c:strRef>
          </c:cat>
          <c:val>
            <c:numRef>
              <c:f>List1!$D$2:$D$18</c:f>
              <c:numCache>
                <c:formatCode>General</c:formatCode>
                <c:ptCount val="17"/>
                <c:pt idx="0">
                  <c:v>22.868220000000001</c:v>
                </c:pt>
                <c:pt idx="1">
                  <c:v>22.57995</c:v>
                </c:pt>
                <c:pt idx="2">
                  <c:v>24.488250000000001</c:v>
                </c:pt>
                <c:pt idx="3">
                  <c:v>26.011030000000002</c:v>
                </c:pt>
                <c:pt idx="4">
                  <c:v>27.6373</c:v>
                </c:pt>
                <c:pt idx="5">
                  <c:v>36.080800000000004</c:v>
                </c:pt>
                <c:pt idx="6">
                  <c:v>38.037329999999997</c:v>
                </c:pt>
                <c:pt idx="7">
                  <c:v>38.522950000000002</c:v>
                </c:pt>
                <c:pt idx="8">
                  <c:v>34.859009999999998</c:v>
                </c:pt>
                <c:pt idx="9">
                  <c:v>33.387450000000001</c:v>
                </c:pt>
                <c:pt idx="10">
                  <c:v>28.80829</c:v>
                </c:pt>
                <c:pt idx="11">
                  <c:v>25.69361</c:v>
                </c:pt>
                <c:pt idx="12">
                  <c:v>24.679490000000001</c:v>
                </c:pt>
                <c:pt idx="13">
                  <c:v>24.8337</c:v>
                </c:pt>
                <c:pt idx="14">
                  <c:v>18.78368</c:v>
                </c:pt>
                <c:pt idx="15">
                  <c:v>13.373250000000001</c:v>
                </c:pt>
                <c:pt idx="16">
                  <c:v>11.13225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1CE-4A2A-887C-F4A54C3D865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D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0"/>
                  <c:y val="-0.10333459327075069"/>
                </c:manualLayout>
              </c:layout>
              <c:numFmt formatCode="###0\,00%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E62E-4708-B3D9-CEE9753FE499}"/>
                </c:ext>
              </c:extLst>
            </c:dLbl>
            <c:numFmt formatCode="###0\,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30.01 - 05.02</c:v>
                </c:pt>
                <c:pt idx="1">
                  <c:v>06.02 - 12.02</c:v>
                </c:pt>
                <c:pt idx="2">
                  <c:v>13.02 - 19.02</c:v>
                </c:pt>
                <c:pt idx="3">
                  <c:v>20.02 - 26.02</c:v>
                </c:pt>
                <c:pt idx="4">
                  <c:v>27.02 - 05.03</c:v>
                </c:pt>
                <c:pt idx="5">
                  <c:v>06.03 - 12.03</c:v>
                </c:pt>
                <c:pt idx="6">
                  <c:v>13.03 - 19.03</c:v>
                </c:pt>
                <c:pt idx="7">
                  <c:v>20.03 - 26.03</c:v>
                </c:pt>
                <c:pt idx="8">
                  <c:v>27.03 - 02.04</c:v>
                </c:pt>
                <c:pt idx="9">
                  <c:v>03.04 - 09.04</c:v>
                </c:pt>
                <c:pt idx="10">
                  <c:v>10.04 - 16.04</c:v>
                </c:pt>
                <c:pt idx="11">
                  <c:v>17.04 - 23.04</c:v>
                </c:pt>
                <c:pt idx="12">
                  <c:v>24.04 - 30.04</c:v>
                </c:pt>
                <c:pt idx="13">
                  <c:v>01.05 - 07.05</c:v>
                </c:pt>
                <c:pt idx="14">
                  <c:v>08.05 - 14.05</c:v>
                </c:pt>
                <c:pt idx="15">
                  <c:v>15.05 - 21.05</c:v>
                </c:pt>
                <c:pt idx="16">
                  <c:v>22.05 - 28.05</c:v>
                </c:pt>
              </c:strCache>
            </c:strRef>
          </c:cat>
          <c:val>
            <c:numRef>
              <c:f>List1!$D$2:$D$18</c:f>
              <c:numCache>
                <c:formatCode>General</c:formatCode>
                <c:ptCount val="17"/>
                <c:pt idx="0">
                  <c:v>18.939109999999999</c:v>
                </c:pt>
                <c:pt idx="1">
                  <c:v>19.52984</c:v>
                </c:pt>
                <c:pt idx="2">
                  <c:v>19.641220000000001</c:v>
                </c:pt>
                <c:pt idx="3">
                  <c:v>20.698599999999999</c:v>
                </c:pt>
                <c:pt idx="4">
                  <c:v>21.950559999999999</c:v>
                </c:pt>
                <c:pt idx="5">
                  <c:v>28.274010000000001</c:v>
                </c:pt>
                <c:pt idx="6">
                  <c:v>30.619980000000002</c:v>
                </c:pt>
                <c:pt idx="7">
                  <c:v>28.032699999999998</c:v>
                </c:pt>
                <c:pt idx="8">
                  <c:v>26.83616</c:v>
                </c:pt>
                <c:pt idx="9">
                  <c:v>24.492850000000001</c:v>
                </c:pt>
                <c:pt idx="10">
                  <c:v>18.321120000000001</c:v>
                </c:pt>
                <c:pt idx="11">
                  <c:v>12.214029999999999</c:v>
                </c:pt>
                <c:pt idx="12">
                  <c:v>8.8547189999999993</c:v>
                </c:pt>
                <c:pt idx="13">
                  <c:v>9.0983269999999994</c:v>
                </c:pt>
                <c:pt idx="14">
                  <c:v>6.3998879999999998</c:v>
                </c:pt>
                <c:pt idx="15">
                  <c:v>2.8108900000000001</c:v>
                </c:pt>
                <c:pt idx="16">
                  <c:v>2.64791499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62E-4708-B3D9-CEE9753FE49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D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-1.1728201244851596E-2"/>
                  <c:y val="-9.3940539337046075E-2"/>
                </c:manualLayout>
              </c:layout>
              <c:numFmt formatCode="###0\,00%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BF29-438D-8691-E33F037B41E3}"/>
                </c:ext>
              </c:extLst>
            </c:dLbl>
            <c:numFmt formatCode="###0\,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30.01 - 05.02</c:v>
                </c:pt>
                <c:pt idx="1">
                  <c:v>06.02 - 12.02</c:v>
                </c:pt>
                <c:pt idx="2">
                  <c:v>13.02 - 19.02</c:v>
                </c:pt>
                <c:pt idx="3">
                  <c:v>20.02 - 26.02</c:v>
                </c:pt>
                <c:pt idx="4">
                  <c:v>27.02 - 05.03</c:v>
                </c:pt>
                <c:pt idx="5">
                  <c:v>06.03 - 12.03</c:v>
                </c:pt>
                <c:pt idx="6">
                  <c:v>13.03 - 19.03</c:v>
                </c:pt>
                <c:pt idx="7">
                  <c:v>20.03 - 26.03</c:v>
                </c:pt>
                <c:pt idx="8">
                  <c:v>27.03 - 02.04</c:v>
                </c:pt>
                <c:pt idx="9">
                  <c:v>03.04 - 09.04</c:v>
                </c:pt>
                <c:pt idx="10">
                  <c:v>10.04 - 16.04</c:v>
                </c:pt>
                <c:pt idx="11">
                  <c:v>17.04 - 23.04</c:v>
                </c:pt>
                <c:pt idx="12">
                  <c:v>24.04 - 30.04</c:v>
                </c:pt>
                <c:pt idx="13">
                  <c:v>01.05 - 07.05</c:v>
                </c:pt>
                <c:pt idx="14">
                  <c:v>08.05 - 14.05</c:v>
                </c:pt>
                <c:pt idx="15">
                  <c:v>15.05 - 21.05</c:v>
                </c:pt>
                <c:pt idx="16">
                  <c:v>22.05 - 28.05</c:v>
                </c:pt>
              </c:strCache>
            </c:strRef>
          </c:cat>
          <c:val>
            <c:numRef>
              <c:f>List1!$D$2:$D$18</c:f>
              <c:numCache>
                <c:formatCode>General</c:formatCode>
                <c:ptCount val="17"/>
                <c:pt idx="0">
                  <c:v>26.475719999999999</c:v>
                </c:pt>
                <c:pt idx="1">
                  <c:v>27.21565</c:v>
                </c:pt>
                <c:pt idx="2">
                  <c:v>29.457930000000001</c:v>
                </c:pt>
                <c:pt idx="3">
                  <c:v>31.421759999999999</c:v>
                </c:pt>
                <c:pt idx="4">
                  <c:v>29.253710000000002</c:v>
                </c:pt>
                <c:pt idx="5">
                  <c:v>29.785450000000001</c:v>
                </c:pt>
                <c:pt idx="6">
                  <c:v>27.537929999999999</c:v>
                </c:pt>
                <c:pt idx="7">
                  <c:v>24.07208</c:v>
                </c:pt>
                <c:pt idx="8">
                  <c:v>22.54674</c:v>
                </c:pt>
                <c:pt idx="9">
                  <c:v>18.785979999999999</c:v>
                </c:pt>
                <c:pt idx="10">
                  <c:v>16.59553</c:v>
                </c:pt>
                <c:pt idx="11">
                  <c:v>12.297560000000001</c:v>
                </c:pt>
                <c:pt idx="12">
                  <c:v>9.6135149999999996</c:v>
                </c:pt>
                <c:pt idx="13">
                  <c:v>7.125642</c:v>
                </c:pt>
                <c:pt idx="14">
                  <c:v>4.0058530000000001</c:v>
                </c:pt>
                <c:pt idx="15">
                  <c:v>1.9936199999999999</c:v>
                </c:pt>
                <c:pt idx="16">
                  <c:v>1.7298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F29-438D-8691-E33F037B41E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Series 6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Liberecký kraj</c:v>
                </c:pt>
                <c:pt idx="1">
                  <c:v>Jihočeský kraj</c:v>
                </c:pt>
                <c:pt idx="2">
                  <c:v>Olomoucký kraj</c:v>
                </c:pt>
                <c:pt idx="3">
                  <c:v>Plzeňský kraj</c:v>
                </c:pt>
                <c:pt idx="4">
                  <c:v>Moravskoslezský kraj</c:v>
                </c:pt>
                <c:pt idx="5">
                  <c:v>Jihomoravský kraj</c:v>
                </c:pt>
                <c:pt idx="6">
                  <c:v>ČR</c:v>
                </c:pt>
                <c:pt idx="7">
                  <c:v>Ústecký kraj</c:v>
                </c:pt>
                <c:pt idx="8">
                  <c:v>Zlínský kraj</c:v>
                </c:pt>
                <c:pt idx="9">
                  <c:v>Středočeský kraj</c:v>
                </c:pt>
                <c:pt idx="10">
                  <c:v>Hlavní město Praha</c:v>
                </c:pt>
                <c:pt idx="11">
                  <c:v>Královéhradecký kraj</c:v>
                </c:pt>
                <c:pt idx="12">
                  <c:v>Kraj Vysočina</c:v>
                </c:pt>
                <c:pt idx="13">
                  <c:v>Karlovarský kraj</c:v>
                </c:pt>
                <c:pt idx="14">
                  <c:v>Pardubic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55.031114000000002</c:v>
                </c:pt>
                <c:pt idx="1">
                  <c:v>41.561526000000001</c:v>
                </c:pt>
                <c:pt idx="2">
                  <c:v>39.674061999999999</c:v>
                </c:pt>
                <c:pt idx="3">
                  <c:v>36.166364999999999</c:v>
                </c:pt>
                <c:pt idx="4">
                  <c:v>29.994001000000001</c:v>
                </c:pt>
                <c:pt idx="5">
                  <c:v>25.478853000000001</c:v>
                </c:pt>
                <c:pt idx="6">
                  <c:v>24.503668000000001</c:v>
                </c:pt>
                <c:pt idx="7">
                  <c:v>24.47561</c:v>
                </c:pt>
                <c:pt idx="8">
                  <c:v>23.717558</c:v>
                </c:pt>
                <c:pt idx="9">
                  <c:v>18.808541999999999</c:v>
                </c:pt>
                <c:pt idx="10">
                  <c:v>17.613744000000001</c:v>
                </c:pt>
                <c:pt idx="11">
                  <c:v>14.333835000000001</c:v>
                </c:pt>
                <c:pt idx="12">
                  <c:v>7.4693756000000002</c:v>
                </c:pt>
                <c:pt idx="13">
                  <c:v>7.2950102000000001</c:v>
                </c:pt>
                <c:pt idx="14">
                  <c:v>3.6075035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2B-4171-AE9D-D1549822F9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30.3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Liberecký kraj</c:v>
                </c:pt>
                <c:pt idx="1">
                  <c:v>Jihočeský kraj</c:v>
                </c:pt>
                <c:pt idx="2">
                  <c:v>Olomoucký kraj</c:v>
                </c:pt>
                <c:pt idx="3">
                  <c:v>Plzeňský kraj</c:v>
                </c:pt>
                <c:pt idx="4">
                  <c:v>Moravskoslezský kraj</c:v>
                </c:pt>
                <c:pt idx="5">
                  <c:v>Jihomoravský kraj</c:v>
                </c:pt>
                <c:pt idx="6">
                  <c:v>ČR</c:v>
                </c:pt>
                <c:pt idx="7">
                  <c:v>Ústecký kraj</c:v>
                </c:pt>
                <c:pt idx="8">
                  <c:v>Zlínský kraj</c:v>
                </c:pt>
                <c:pt idx="9">
                  <c:v>Středočeský kraj</c:v>
                </c:pt>
                <c:pt idx="10">
                  <c:v>Hlavní město Praha</c:v>
                </c:pt>
                <c:pt idx="11">
                  <c:v>Královéhradecký kraj</c:v>
                </c:pt>
                <c:pt idx="12">
                  <c:v>Kraj Vysočina</c:v>
                </c:pt>
                <c:pt idx="13">
                  <c:v>Karlovarský kraj</c:v>
                </c:pt>
                <c:pt idx="14">
                  <c:v>Pardubic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292.08821999999998</c:v>
                </c:pt>
                <c:pt idx="1">
                  <c:v>282.02463999999998</c:v>
                </c:pt>
                <c:pt idx="2">
                  <c:v>177.00735</c:v>
                </c:pt>
                <c:pt idx="3">
                  <c:v>193.98322999999999</c:v>
                </c:pt>
                <c:pt idx="4">
                  <c:v>226.62134</c:v>
                </c:pt>
                <c:pt idx="5">
                  <c:v>179.85072</c:v>
                </c:pt>
                <c:pt idx="6">
                  <c:v>248.38611</c:v>
                </c:pt>
                <c:pt idx="7">
                  <c:v>369.58170999999999</c:v>
                </c:pt>
                <c:pt idx="8">
                  <c:v>304.94002999999998</c:v>
                </c:pt>
                <c:pt idx="9">
                  <c:v>295.92104999999998</c:v>
                </c:pt>
                <c:pt idx="10">
                  <c:v>222.20416</c:v>
                </c:pt>
                <c:pt idx="11">
                  <c:v>172.00602000000001</c:v>
                </c:pt>
                <c:pt idx="12">
                  <c:v>268.89751999999999</c:v>
                </c:pt>
                <c:pt idx="13">
                  <c:v>72.950102000000001</c:v>
                </c:pt>
                <c:pt idx="14">
                  <c:v>364.35786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6D0-42BF-8BD6-5FBE1940F7D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3.4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Liberecký kraj</c:v>
                </c:pt>
                <c:pt idx="1">
                  <c:v>Jihočeský kraj</c:v>
                </c:pt>
                <c:pt idx="2">
                  <c:v>Olomoucký kraj</c:v>
                </c:pt>
                <c:pt idx="3">
                  <c:v>Plzeňský kraj</c:v>
                </c:pt>
                <c:pt idx="4">
                  <c:v>Moravskoslezský kraj</c:v>
                </c:pt>
                <c:pt idx="5">
                  <c:v>Jihomoravský kraj</c:v>
                </c:pt>
                <c:pt idx="6">
                  <c:v>ČR</c:v>
                </c:pt>
                <c:pt idx="7">
                  <c:v>Ústecký kraj</c:v>
                </c:pt>
                <c:pt idx="8">
                  <c:v>Zlínský kraj</c:v>
                </c:pt>
                <c:pt idx="9">
                  <c:v>Středočeský kraj</c:v>
                </c:pt>
                <c:pt idx="10">
                  <c:v>Hlavní město Praha</c:v>
                </c:pt>
                <c:pt idx="11">
                  <c:v>Královéhradecký kraj</c:v>
                </c:pt>
                <c:pt idx="12">
                  <c:v>Kraj Vysočina</c:v>
                </c:pt>
                <c:pt idx="13">
                  <c:v>Karlovarský kraj</c:v>
                </c:pt>
                <c:pt idx="14">
                  <c:v>Pardubický kraj</c:v>
                </c:pt>
              </c:strCache>
            </c:strRef>
          </c:cat>
          <c:val>
            <c:numRef>
              <c:f>Sheet1!$C$2:$C$16</c:f>
              <c:numCache>
                <c:formatCode>General</c:formatCode>
                <c:ptCount val="15"/>
                <c:pt idx="0">
                  <c:v>139.69436999999999</c:v>
                </c:pt>
                <c:pt idx="1">
                  <c:v>255.30652000000001</c:v>
                </c:pt>
                <c:pt idx="2">
                  <c:v>167.8518</c:v>
                </c:pt>
                <c:pt idx="3">
                  <c:v>69.044878999999995</c:v>
                </c:pt>
                <c:pt idx="4">
                  <c:v>173.29866999999999</c:v>
                </c:pt>
                <c:pt idx="5">
                  <c:v>152.87312</c:v>
                </c:pt>
                <c:pt idx="6">
                  <c:v>158.12799000000001</c:v>
                </c:pt>
                <c:pt idx="7">
                  <c:v>244.7561</c:v>
                </c:pt>
                <c:pt idx="8">
                  <c:v>159.24646000000001</c:v>
                </c:pt>
                <c:pt idx="9">
                  <c:v>125.39028</c:v>
                </c:pt>
                <c:pt idx="10">
                  <c:v>157.16879</c:v>
                </c:pt>
                <c:pt idx="11">
                  <c:v>50.168422999999997</c:v>
                </c:pt>
                <c:pt idx="12">
                  <c:v>224.08126999999999</c:v>
                </c:pt>
                <c:pt idx="13">
                  <c:v>124.01517</c:v>
                </c:pt>
                <c:pt idx="14">
                  <c:v>151.51515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6D0-42BF-8BD6-5FBE1940F7D1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1.5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Liberecký kraj</c:v>
                </c:pt>
                <c:pt idx="1">
                  <c:v>Jihočeský kraj</c:v>
                </c:pt>
                <c:pt idx="2">
                  <c:v>Olomoucký kraj</c:v>
                </c:pt>
                <c:pt idx="3">
                  <c:v>Plzeňský kraj</c:v>
                </c:pt>
                <c:pt idx="4">
                  <c:v>Moravskoslezský kraj</c:v>
                </c:pt>
                <c:pt idx="5">
                  <c:v>Jihomoravský kraj</c:v>
                </c:pt>
                <c:pt idx="6">
                  <c:v>ČR</c:v>
                </c:pt>
                <c:pt idx="7">
                  <c:v>Ústecký kraj</c:v>
                </c:pt>
                <c:pt idx="8">
                  <c:v>Zlínský kraj</c:v>
                </c:pt>
                <c:pt idx="9">
                  <c:v>Středočeský kraj</c:v>
                </c:pt>
                <c:pt idx="10">
                  <c:v>Hlavní město Praha</c:v>
                </c:pt>
                <c:pt idx="11">
                  <c:v>Královéhradecký kraj</c:v>
                </c:pt>
                <c:pt idx="12">
                  <c:v>Kraj Vysočina</c:v>
                </c:pt>
                <c:pt idx="13">
                  <c:v>Karlovarský kraj</c:v>
                </c:pt>
                <c:pt idx="14">
                  <c:v>Pardubický kraj</c:v>
                </c:pt>
              </c:strCache>
            </c:strRef>
          </c:cat>
          <c:val>
            <c:numRef>
              <c:f>Sheet1!$D$2:$D$16</c:f>
              <c:numCache>
                <c:formatCode>General</c:formatCode>
                <c:ptCount val="15"/>
                <c:pt idx="0">
                  <c:v>42.331626</c:v>
                </c:pt>
                <c:pt idx="1">
                  <c:v>145.46534</c:v>
                </c:pt>
                <c:pt idx="2">
                  <c:v>82.399975999999995</c:v>
                </c:pt>
                <c:pt idx="3">
                  <c:v>55.893473999999998</c:v>
                </c:pt>
                <c:pt idx="4">
                  <c:v>111.64434</c:v>
                </c:pt>
                <c:pt idx="5">
                  <c:v>91.424118000000007</c:v>
                </c:pt>
                <c:pt idx="6">
                  <c:v>94.841537000000002</c:v>
                </c:pt>
                <c:pt idx="7">
                  <c:v>163.98659000000001</c:v>
                </c:pt>
                <c:pt idx="8">
                  <c:v>155.85824</c:v>
                </c:pt>
                <c:pt idx="9">
                  <c:v>82.757582999999997</c:v>
                </c:pt>
                <c:pt idx="10">
                  <c:v>75.874589999999998</c:v>
                </c:pt>
                <c:pt idx="11">
                  <c:v>50.168422999999997</c:v>
                </c:pt>
                <c:pt idx="12">
                  <c:v>134.44875999999999</c:v>
                </c:pt>
                <c:pt idx="13">
                  <c:v>14.590020000000001</c:v>
                </c:pt>
                <c:pt idx="14">
                  <c:v>72.15007199999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1F2-4B90-B8EF-7C911D5510F9}"/>
            </c:ext>
          </c:extLst>
        </c:ser>
        <c:ser>
          <c:idx val="2"/>
          <c:order val="3"/>
          <c:tx>
            <c:strRef>
              <c:f>Sheet1!$E$1</c:f>
              <c:strCache>
                <c:ptCount val="1"/>
                <c:pt idx="0">
                  <c:v>Sloupec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Liberecký kraj</c:v>
                </c:pt>
                <c:pt idx="1">
                  <c:v>Jihočeský kraj</c:v>
                </c:pt>
                <c:pt idx="2">
                  <c:v>Olomoucký kraj</c:v>
                </c:pt>
                <c:pt idx="3">
                  <c:v>Plzeňský kraj</c:v>
                </c:pt>
                <c:pt idx="4">
                  <c:v>Moravskoslezský kraj</c:v>
                </c:pt>
                <c:pt idx="5">
                  <c:v>Jihomoravský kraj</c:v>
                </c:pt>
                <c:pt idx="6">
                  <c:v>ČR</c:v>
                </c:pt>
                <c:pt idx="7">
                  <c:v>Ústecký kraj</c:v>
                </c:pt>
                <c:pt idx="8">
                  <c:v>Zlínský kraj</c:v>
                </c:pt>
                <c:pt idx="9">
                  <c:v>Středočeský kraj</c:v>
                </c:pt>
                <c:pt idx="10">
                  <c:v>Hlavní město Praha</c:v>
                </c:pt>
                <c:pt idx="11">
                  <c:v>Královéhradecký kraj</c:v>
                </c:pt>
                <c:pt idx="12">
                  <c:v>Kraj Vysočina</c:v>
                </c:pt>
                <c:pt idx="13">
                  <c:v>Karlovarský kraj</c:v>
                </c:pt>
                <c:pt idx="14">
                  <c:v>Pardubic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55.031114000000002</c:v>
                </c:pt>
                <c:pt idx="1">
                  <c:v>41.561526000000001</c:v>
                </c:pt>
                <c:pt idx="2">
                  <c:v>39.674061999999999</c:v>
                </c:pt>
                <c:pt idx="3">
                  <c:v>36.166364999999999</c:v>
                </c:pt>
                <c:pt idx="4">
                  <c:v>29.994001000000001</c:v>
                </c:pt>
                <c:pt idx="5">
                  <c:v>25.478853000000001</c:v>
                </c:pt>
                <c:pt idx="6">
                  <c:v>24.503668000000001</c:v>
                </c:pt>
                <c:pt idx="7">
                  <c:v>24.47561</c:v>
                </c:pt>
                <c:pt idx="8">
                  <c:v>23.717558</c:v>
                </c:pt>
                <c:pt idx="9">
                  <c:v>18.808541999999999</c:v>
                </c:pt>
                <c:pt idx="10">
                  <c:v>17.613744000000001</c:v>
                </c:pt>
                <c:pt idx="11">
                  <c:v>14.333835000000001</c:v>
                </c:pt>
                <c:pt idx="12">
                  <c:v>7.4693756000000002</c:v>
                </c:pt>
                <c:pt idx="13">
                  <c:v>7.2950102000000001</c:v>
                </c:pt>
                <c:pt idx="14">
                  <c:v>3.6075035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6D0-42BF-8BD6-5FBE1940F7D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Series 6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Moravskoslezský kraj</c:v>
                </c:pt>
                <c:pt idx="2">
                  <c:v>Olomoucký kraj</c:v>
                </c:pt>
                <c:pt idx="3">
                  <c:v>Kraj Vysočina</c:v>
                </c:pt>
                <c:pt idx="4">
                  <c:v>Liberecký kraj</c:v>
                </c:pt>
                <c:pt idx="5">
                  <c:v>Ústecký kraj</c:v>
                </c:pt>
                <c:pt idx="6">
                  <c:v>Jihočeský kraj</c:v>
                </c:pt>
                <c:pt idx="7">
                  <c:v>ČR</c:v>
                </c:pt>
                <c:pt idx="8">
                  <c:v>Jihomoravský kraj</c:v>
                </c:pt>
                <c:pt idx="9">
                  <c:v>Hlavní město Praha</c:v>
                </c:pt>
                <c:pt idx="10">
                  <c:v>Středočeský kraj</c:v>
                </c:pt>
                <c:pt idx="11">
                  <c:v>Plzeňský kraj</c:v>
                </c:pt>
                <c:pt idx="12">
                  <c:v>Pardubický kraj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103.4228</c:v>
                </c:pt>
                <c:pt idx="1">
                  <c:v>74.475127999999998</c:v>
                </c:pt>
                <c:pt idx="2">
                  <c:v>61.238326000000001</c:v>
                </c:pt>
                <c:pt idx="3">
                  <c:v>54.805031</c:v>
                </c:pt>
                <c:pt idx="4">
                  <c:v>53.208784999999999</c:v>
                </c:pt>
                <c:pt idx="5">
                  <c:v>52.251722999999998</c:v>
                </c:pt>
                <c:pt idx="6">
                  <c:v>50.511428000000002</c:v>
                </c:pt>
                <c:pt idx="7">
                  <c:v>46.259078000000002</c:v>
                </c:pt>
                <c:pt idx="8">
                  <c:v>41.466338999999998</c:v>
                </c:pt>
                <c:pt idx="9">
                  <c:v>37.148220999999999</c:v>
                </c:pt>
                <c:pt idx="10">
                  <c:v>36.925142999999998</c:v>
                </c:pt>
                <c:pt idx="11">
                  <c:v>30.457090999999998</c:v>
                </c:pt>
                <c:pt idx="12">
                  <c:v>15.534784999999999</c:v>
                </c:pt>
                <c:pt idx="13">
                  <c:v>15.061753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2B-4171-AE9D-D1549822F9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30.3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Moravskoslezský kraj</c:v>
                </c:pt>
                <c:pt idx="2">
                  <c:v>Olomoucký kraj</c:v>
                </c:pt>
                <c:pt idx="3">
                  <c:v>Kraj Vysočina</c:v>
                </c:pt>
                <c:pt idx="4">
                  <c:v>Liberecký kraj</c:v>
                </c:pt>
                <c:pt idx="5">
                  <c:v>Ústecký kraj</c:v>
                </c:pt>
                <c:pt idx="6">
                  <c:v>Jihočeský kraj</c:v>
                </c:pt>
                <c:pt idx="7">
                  <c:v>ČR</c:v>
                </c:pt>
                <c:pt idx="8">
                  <c:v>Jihomoravský kraj</c:v>
                </c:pt>
                <c:pt idx="9">
                  <c:v>Hlavní město Praha</c:v>
                </c:pt>
                <c:pt idx="10">
                  <c:v>Středočeský kraj</c:v>
                </c:pt>
                <c:pt idx="11">
                  <c:v>Plzeňský kraj</c:v>
                </c:pt>
                <c:pt idx="12">
                  <c:v>Pardubický kraj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327.50554</c:v>
                </c:pt>
                <c:pt idx="1">
                  <c:v>286.07906000000003</c:v>
                </c:pt>
                <c:pt idx="2">
                  <c:v>310.56580000000002</c:v>
                </c:pt>
                <c:pt idx="3">
                  <c:v>443.92075</c:v>
                </c:pt>
                <c:pt idx="4">
                  <c:v>384.28566999999998</c:v>
                </c:pt>
                <c:pt idx="5">
                  <c:v>463.73403999999999</c:v>
                </c:pt>
                <c:pt idx="6">
                  <c:v>441.97500000000002</c:v>
                </c:pt>
                <c:pt idx="7">
                  <c:v>328.68950999999998</c:v>
                </c:pt>
                <c:pt idx="8">
                  <c:v>288.02294999999998</c:v>
                </c:pt>
                <c:pt idx="9">
                  <c:v>255.01751999999999</c:v>
                </c:pt>
                <c:pt idx="10">
                  <c:v>349.11043999999998</c:v>
                </c:pt>
                <c:pt idx="11">
                  <c:v>318.62803000000002</c:v>
                </c:pt>
                <c:pt idx="12">
                  <c:v>396.13702000000001</c:v>
                </c:pt>
                <c:pt idx="13">
                  <c:v>225.9263</c:v>
                </c:pt>
                <c:pt idx="14">
                  <c:v>96.581030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C12-4CBF-BBB0-B856CD71C7F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3.4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Moravskoslezský kraj</c:v>
                </c:pt>
                <c:pt idx="2">
                  <c:v>Olomoucký kraj</c:v>
                </c:pt>
                <c:pt idx="3">
                  <c:v>Kraj Vysočina</c:v>
                </c:pt>
                <c:pt idx="4">
                  <c:v>Liberecký kraj</c:v>
                </c:pt>
                <c:pt idx="5">
                  <c:v>Ústecký kraj</c:v>
                </c:pt>
                <c:pt idx="6">
                  <c:v>Jihočeský kraj</c:v>
                </c:pt>
                <c:pt idx="7">
                  <c:v>ČR</c:v>
                </c:pt>
                <c:pt idx="8">
                  <c:v>Jihomoravský kraj</c:v>
                </c:pt>
                <c:pt idx="9">
                  <c:v>Hlavní město Praha</c:v>
                </c:pt>
                <c:pt idx="10">
                  <c:v>Středočeský kraj</c:v>
                </c:pt>
                <c:pt idx="11">
                  <c:v>Plzeňský kraj</c:v>
                </c:pt>
                <c:pt idx="12">
                  <c:v>Pardubický kraj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C$2:$C$16</c:f>
              <c:numCache>
                <c:formatCode>General</c:formatCode>
                <c:ptCount val="15"/>
                <c:pt idx="0">
                  <c:v>312.73084999999998</c:v>
                </c:pt>
                <c:pt idx="1">
                  <c:v>235.24682999999999</c:v>
                </c:pt>
                <c:pt idx="2">
                  <c:v>251.51455999999999</c:v>
                </c:pt>
                <c:pt idx="3">
                  <c:v>350.75220000000002</c:v>
                </c:pt>
                <c:pt idx="4">
                  <c:v>224.65932000000001</c:v>
                </c:pt>
                <c:pt idx="5">
                  <c:v>262.89148</c:v>
                </c:pt>
                <c:pt idx="6">
                  <c:v>345.16143</c:v>
                </c:pt>
                <c:pt idx="7">
                  <c:v>225.79431</c:v>
                </c:pt>
                <c:pt idx="8">
                  <c:v>209.57311999999999</c:v>
                </c:pt>
                <c:pt idx="9">
                  <c:v>159.63695000000001</c:v>
                </c:pt>
                <c:pt idx="10">
                  <c:v>192.17858000000001</c:v>
                </c:pt>
                <c:pt idx="11">
                  <c:v>156.97116</c:v>
                </c:pt>
                <c:pt idx="12">
                  <c:v>346.94353000000001</c:v>
                </c:pt>
                <c:pt idx="13">
                  <c:v>100.41168999999999</c:v>
                </c:pt>
                <c:pt idx="14">
                  <c:v>96.581030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C12-4CBF-BBB0-B856CD71C7F9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1.5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Moravskoslezský kraj</c:v>
                </c:pt>
                <c:pt idx="2">
                  <c:v>Olomoucký kraj</c:v>
                </c:pt>
                <c:pt idx="3">
                  <c:v>Kraj Vysočina</c:v>
                </c:pt>
                <c:pt idx="4">
                  <c:v>Liberecký kraj</c:v>
                </c:pt>
                <c:pt idx="5">
                  <c:v>Ústecký kraj</c:v>
                </c:pt>
                <c:pt idx="6">
                  <c:v>Jihočeský kraj</c:v>
                </c:pt>
                <c:pt idx="7">
                  <c:v>ČR</c:v>
                </c:pt>
                <c:pt idx="8">
                  <c:v>Jihomoravský kraj</c:v>
                </c:pt>
                <c:pt idx="9">
                  <c:v>Hlavní město Praha</c:v>
                </c:pt>
                <c:pt idx="10">
                  <c:v>Středočeský kraj</c:v>
                </c:pt>
                <c:pt idx="11">
                  <c:v>Plzeňský kraj</c:v>
                </c:pt>
                <c:pt idx="12">
                  <c:v>Pardubický kraj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D$2:$D$16</c:f>
              <c:numCache>
                <c:formatCode>General</c:formatCode>
                <c:ptCount val="15"/>
                <c:pt idx="0">
                  <c:v>216.69540000000001</c:v>
                </c:pt>
                <c:pt idx="1">
                  <c:v>189.14318</c:v>
                </c:pt>
                <c:pt idx="2">
                  <c:v>131.22498999999999</c:v>
                </c:pt>
                <c:pt idx="3">
                  <c:v>189.07736</c:v>
                </c:pt>
                <c:pt idx="4">
                  <c:v>94.593395999999998</c:v>
                </c:pt>
                <c:pt idx="5">
                  <c:v>189.41248999999999</c:v>
                </c:pt>
                <c:pt idx="6">
                  <c:v>212.56892999999999</c:v>
                </c:pt>
                <c:pt idx="7">
                  <c:v>146.77880999999999</c:v>
                </c:pt>
                <c:pt idx="8">
                  <c:v>187.15888000000001</c:v>
                </c:pt>
                <c:pt idx="9">
                  <c:v>117.4687</c:v>
                </c:pt>
                <c:pt idx="10">
                  <c:v>125.88117</c:v>
                </c:pt>
                <c:pt idx="11">
                  <c:v>74.971299999999999</c:v>
                </c:pt>
                <c:pt idx="12">
                  <c:v>150.16959</c:v>
                </c:pt>
                <c:pt idx="13">
                  <c:v>47.695551999999999</c:v>
                </c:pt>
                <c:pt idx="14">
                  <c:v>24.145257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C12-4CBF-BBB0-B856CD71C7F9}"/>
            </c:ext>
          </c:extLst>
        </c:ser>
        <c:ser>
          <c:idx val="2"/>
          <c:order val="3"/>
          <c:tx>
            <c:strRef>
              <c:f>Sheet1!$E$1</c:f>
              <c:strCache>
                <c:ptCount val="1"/>
                <c:pt idx="0">
                  <c:v>Sloupec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Moravskoslezský kraj</c:v>
                </c:pt>
                <c:pt idx="2">
                  <c:v>Olomoucký kraj</c:v>
                </c:pt>
                <c:pt idx="3">
                  <c:v>Kraj Vysočina</c:v>
                </c:pt>
                <c:pt idx="4">
                  <c:v>Liberecký kraj</c:v>
                </c:pt>
                <c:pt idx="5">
                  <c:v>Ústecký kraj</c:v>
                </c:pt>
                <c:pt idx="6">
                  <c:v>Jihočeský kraj</c:v>
                </c:pt>
                <c:pt idx="7">
                  <c:v>ČR</c:v>
                </c:pt>
                <c:pt idx="8">
                  <c:v>Jihomoravský kraj</c:v>
                </c:pt>
                <c:pt idx="9">
                  <c:v>Hlavní město Praha</c:v>
                </c:pt>
                <c:pt idx="10">
                  <c:v>Středočeský kraj</c:v>
                </c:pt>
                <c:pt idx="11">
                  <c:v>Plzeňský kraj</c:v>
                </c:pt>
                <c:pt idx="12">
                  <c:v>Pardubický kraj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103.4228</c:v>
                </c:pt>
                <c:pt idx="1">
                  <c:v>74.475127999999998</c:v>
                </c:pt>
                <c:pt idx="2">
                  <c:v>61.238326000000001</c:v>
                </c:pt>
                <c:pt idx="3">
                  <c:v>54.805031</c:v>
                </c:pt>
                <c:pt idx="4">
                  <c:v>53.208784999999999</c:v>
                </c:pt>
                <c:pt idx="5">
                  <c:v>52.251722999999998</c:v>
                </c:pt>
                <c:pt idx="6">
                  <c:v>50.511428000000002</c:v>
                </c:pt>
                <c:pt idx="7">
                  <c:v>46.259078000000002</c:v>
                </c:pt>
                <c:pt idx="8">
                  <c:v>41.466338999999998</c:v>
                </c:pt>
                <c:pt idx="9">
                  <c:v>37.148220999999999</c:v>
                </c:pt>
                <c:pt idx="10">
                  <c:v>36.925142999999998</c:v>
                </c:pt>
                <c:pt idx="11">
                  <c:v>30.457090999999998</c:v>
                </c:pt>
                <c:pt idx="12">
                  <c:v>15.534784999999999</c:v>
                </c:pt>
                <c:pt idx="13">
                  <c:v>15.061753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C12-4CBF-BBB0-B856CD71C7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8316191038232933E-2"/>
          <c:y val="3.3169839791542172E-2"/>
          <c:w val="0.87325910066909118"/>
          <c:h val="0.73613490142608773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Moravskoslezský kraj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31.1 - 6.2</c:v>
                </c:pt>
                <c:pt idx="1">
                  <c:v>7.2 - 13.2</c:v>
                </c:pt>
                <c:pt idx="2">
                  <c:v>14.2 - 20.2</c:v>
                </c:pt>
                <c:pt idx="3">
                  <c:v>21.2 - 27.2</c:v>
                </c:pt>
                <c:pt idx="4">
                  <c:v>28.2 - 6.3</c:v>
                </c:pt>
                <c:pt idx="5">
                  <c:v>7.3 - 13.3</c:v>
                </c:pt>
                <c:pt idx="6">
                  <c:v>14.3 - 20.3</c:v>
                </c:pt>
                <c:pt idx="7">
                  <c:v>21.3 - 27.3</c:v>
                </c:pt>
                <c:pt idx="8">
                  <c:v>28.3 - 3.4</c:v>
                </c:pt>
                <c:pt idx="9">
                  <c:v>4.4 - 10.4</c:v>
                </c:pt>
                <c:pt idx="10">
                  <c:v>11.4 - 17.4</c:v>
                </c:pt>
                <c:pt idx="11">
                  <c:v>18.4 - 24.4</c:v>
                </c:pt>
                <c:pt idx="12">
                  <c:v>25.4 - 1.5</c:v>
                </c:pt>
                <c:pt idx="13">
                  <c:v>2.5 - 8.5</c:v>
                </c:pt>
                <c:pt idx="14">
                  <c:v>9.5 - 15.5</c:v>
                </c:pt>
                <c:pt idx="15">
                  <c:v>16.5 - 22.5</c:v>
                </c:pt>
                <c:pt idx="16">
                  <c:v>23.5 - 29.5</c:v>
                </c:pt>
              </c:strCache>
            </c:strRef>
          </c:cat>
          <c:val>
            <c:numRef>
              <c:f>List1!$B$2:$R$2</c:f>
              <c:numCache>
                <c:formatCode>###0</c:formatCode>
                <c:ptCount val="17"/>
                <c:pt idx="0">
                  <c:v>302.80827005266445</c:v>
                </c:pt>
                <c:pt idx="1">
                  <c:v>301.88609647276985</c:v>
                </c:pt>
                <c:pt idx="2">
                  <c:v>378.09116775678757</c:v>
                </c:pt>
                <c:pt idx="3">
                  <c:v>477.51824646178756</c:v>
                </c:pt>
                <c:pt idx="4">
                  <c:v>505.51878970586006</c:v>
                </c:pt>
                <c:pt idx="5">
                  <c:v>474.33255591306073</c:v>
                </c:pt>
                <c:pt idx="6">
                  <c:v>494.62037467074202</c:v>
                </c:pt>
                <c:pt idx="7">
                  <c:v>417.32546188321248</c:v>
                </c:pt>
                <c:pt idx="8">
                  <c:v>326.95245105354132</c:v>
                </c:pt>
                <c:pt idx="9">
                  <c:v>288.13732673615937</c:v>
                </c:pt>
                <c:pt idx="10">
                  <c:v>242.28014962685498</c:v>
                </c:pt>
                <c:pt idx="11">
                  <c:v>197.59664798287102</c:v>
                </c:pt>
                <c:pt idx="12">
                  <c:v>163.72772741219646</c:v>
                </c:pt>
                <c:pt idx="13">
                  <c:v>133.37983323748315</c:v>
                </c:pt>
                <c:pt idx="14">
                  <c:v>107.64280696224284</c:v>
                </c:pt>
                <c:pt idx="15">
                  <c:v>65.893493981559871</c:v>
                </c:pt>
                <c:pt idx="16">
                  <c:v>40.5756375153625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1C8-40CE-8367-01026AECBA98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31.1 - 6.2</c:v>
                </c:pt>
                <c:pt idx="1">
                  <c:v>7.2 - 13.2</c:v>
                </c:pt>
                <c:pt idx="2">
                  <c:v>14.2 - 20.2</c:v>
                </c:pt>
                <c:pt idx="3">
                  <c:v>21.2 - 27.2</c:v>
                </c:pt>
                <c:pt idx="4">
                  <c:v>28.2 - 6.3</c:v>
                </c:pt>
                <c:pt idx="5">
                  <c:v>7.3 - 13.3</c:v>
                </c:pt>
                <c:pt idx="6">
                  <c:v>14.3 - 20.3</c:v>
                </c:pt>
                <c:pt idx="7">
                  <c:v>21.3 - 27.3</c:v>
                </c:pt>
                <c:pt idx="8">
                  <c:v>28.3 - 3.4</c:v>
                </c:pt>
                <c:pt idx="9">
                  <c:v>4.4 - 10.4</c:v>
                </c:pt>
                <c:pt idx="10">
                  <c:v>11.4 - 17.4</c:v>
                </c:pt>
                <c:pt idx="11">
                  <c:v>18.4 - 24.4</c:v>
                </c:pt>
                <c:pt idx="12">
                  <c:v>25.4 - 1.5</c:v>
                </c:pt>
                <c:pt idx="13">
                  <c:v>2.5 - 8.5</c:v>
                </c:pt>
                <c:pt idx="14">
                  <c:v>9.5 - 15.5</c:v>
                </c:pt>
                <c:pt idx="15">
                  <c:v>16.5 - 22.5</c:v>
                </c:pt>
                <c:pt idx="16">
                  <c:v>23.5 - 29.5</c:v>
                </c:pt>
              </c:strCache>
            </c:strRef>
          </c:cat>
          <c:val>
            <c:numRef>
              <c:f>List1!$B$3:$R$3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1C8-40CE-8367-01026AECBA98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31.1 - 6.2</c:v>
                </c:pt>
                <c:pt idx="1">
                  <c:v>7.2 - 13.2</c:v>
                </c:pt>
                <c:pt idx="2">
                  <c:v>14.2 - 20.2</c:v>
                </c:pt>
                <c:pt idx="3">
                  <c:v>21.2 - 27.2</c:v>
                </c:pt>
                <c:pt idx="4">
                  <c:v>28.2 - 6.3</c:v>
                </c:pt>
                <c:pt idx="5">
                  <c:v>7.3 - 13.3</c:v>
                </c:pt>
                <c:pt idx="6">
                  <c:v>14.3 - 20.3</c:v>
                </c:pt>
                <c:pt idx="7">
                  <c:v>21.3 - 27.3</c:v>
                </c:pt>
                <c:pt idx="8">
                  <c:v>28.3 - 3.4</c:v>
                </c:pt>
                <c:pt idx="9">
                  <c:v>4.4 - 10.4</c:v>
                </c:pt>
                <c:pt idx="10">
                  <c:v>11.4 - 17.4</c:v>
                </c:pt>
                <c:pt idx="11">
                  <c:v>18.4 - 24.4</c:v>
                </c:pt>
                <c:pt idx="12">
                  <c:v>25.4 - 1.5</c:v>
                </c:pt>
                <c:pt idx="13">
                  <c:v>2.5 - 8.5</c:v>
                </c:pt>
                <c:pt idx="14">
                  <c:v>9.5 - 15.5</c:v>
                </c:pt>
                <c:pt idx="15">
                  <c:v>16.5 - 22.5</c:v>
                </c:pt>
                <c:pt idx="16">
                  <c:v>23.5 - 29.5</c:v>
                </c:pt>
              </c:strCache>
            </c:strRef>
          </c:cat>
          <c:val>
            <c:numRef>
              <c:f>List1!$B$4:$R$4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1C8-40CE-8367-01026AECBA98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31.1 - 6.2</c:v>
                </c:pt>
                <c:pt idx="1">
                  <c:v>7.2 - 13.2</c:v>
                </c:pt>
                <c:pt idx="2">
                  <c:v>14.2 - 20.2</c:v>
                </c:pt>
                <c:pt idx="3">
                  <c:v>21.2 - 27.2</c:v>
                </c:pt>
                <c:pt idx="4">
                  <c:v>28.2 - 6.3</c:v>
                </c:pt>
                <c:pt idx="5">
                  <c:v>7.3 - 13.3</c:v>
                </c:pt>
                <c:pt idx="6">
                  <c:v>14.3 - 20.3</c:v>
                </c:pt>
                <c:pt idx="7">
                  <c:v>21.3 - 27.3</c:v>
                </c:pt>
                <c:pt idx="8">
                  <c:v>28.3 - 3.4</c:v>
                </c:pt>
                <c:pt idx="9">
                  <c:v>4.4 - 10.4</c:v>
                </c:pt>
                <c:pt idx="10">
                  <c:v>11.4 - 17.4</c:v>
                </c:pt>
                <c:pt idx="11">
                  <c:v>18.4 - 24.4</c:v>
                </c:pt>
                <c:pt idx="12">
                  <c:v>25.4 - 1.5</c:v>
                </c:pt>
                <c:pt idx="13">
                  <c:v>2.5 - 8.5</c:v>
                </c:pt>
                <c:pt idx="14">
                  <c:v>9.5 - 15.5</c:v>
                </c:pt>
                <c:pt idx="15">
                  <c:v>16.5 - 22.5</c:v>
                </c:pt>
                <c:pt idx="16">
                  <c:v>23.5 - 29.5</c:v>
                </c:pt>
              </c:strCache>
            </c:strRef>
          </c:cat>
          <c:val>
            <c:numRef>
              <c:f>List1!$B$5:$R$5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1C8-40CE-8367-01026AECBA98}"/>
            </c:ext>
          </c:extLst>
        </c:ser>
        <c:ser>
          <c:idx val="4"/>
          <c:order val="4"/>
          <c:tx>
            <c:strRef>
              <c:f>List1!$A$6</c:f>
              <c:strCache>
                <c:ptCount val="1"/>
              </c:strCache>
            </c:strRef>
          </c:tx>
          <c:spPr>
            <a:ln w="28575" cap="rnd">
              <a:solidFill>
                <a:schemeClr val="bg1">
                  <a:lumMod val="65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31.1 - 6.2</c:v>
                </c:pt>
                <c:pt idx="1">
                  <c:v>7.2 - 13.2</c:v>
                </c:pt>
                <c:pt idx="2">
                  <c:v>14.2 - 20.2</c:v>
                </c:pt>
                <c:pt idx="3">
                  <c:v>21.2 - 27.2</c:v>
                </c:pt>
                <c:pt idx="4">
                  <c:v>28.2 - 6.3</c:v>
                </c:pt>
                <c:pt idx="5">
                  <c:v>7.3 - 13.3</c:v>
                </c:pt>
                <c:pt idx="6">
                  <c:v>14.3 - 20.3</c:v>
                </c:pt>
                <c:pt idx="7">
                  <c:v>21.3 - 27.3</c:v>
                </c:pt>
                <c:pt idx="8">
                  <c:v>28.3 - 3.4</c:v>
                </c:pt>
                <c:pt idx="9">
                  <c:v>4.4 - 10.4</c:v>
                </c:pt>
                <c:pt idx="10">
                  <c:v>11.4 - 17.4</c:v>
                </c:pt>
                <c:pt idx="11">
                  <c:v>18.4 - 24.4</c:v>
                </c:pt>
                <c:pt idx="12">
                  <c:v>25.4 - 1.5</c:v>
                </c:pt>
                <c:pt idx="13">
                  <c:v>2.5 - 8.5</c:v>
                </c:pt>
                <c:pt idx="14">
                  <c:v>9.5 - 15.5</c:v>
                </c:pt>
                <c:pt idx="15">
                  <c:v>16.5 - 22.5</c:v>
                </c:pt>
                <c:pt idx="16">
                  <c:v>23.5 - 29.5</c:v>
                </c:pt>
              </c:strCache>
            </c:strRef>
          </c:cat>
          <c:val>
            <c:numRef>
              <c:f>List1!$B$6:$R$6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1C8-40CE-8367-01026AECBA98}"/>
            </c:ext>
          </c:extLst>
        </c:ser>
        <c:ser>
          <c:idx val="5"/>
          <c:order val="5"/>
          <c:tx>
            <c:strRef>
              <c:f>List1!$A$7</c:f>
              <c:strCache>
                <c:ptCount val="1"/>
                <c:pt idx="0">
                  <c:v>Celá populace ČR</c:v>
                </c:pt>
              </c:strCache>
            </c:strRef>
          </c:tx>
          <c:spPr>
            <a:ln w="28575" cap="rnd">
              <a:solidFill>
                <a:schemeClr val="tx1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31.1 - 6.2</c:v>
                </c:pt>
                <c:pt idx="1">
                  <c:v>7.2 - 13.2</c:v>
                </c:pt>
                <c:pt idx="2">
                  <c:v>14.2 - 20.2</c:v>
                </c:pt>
                <c:pt idx="3">
                  <c:v>21.2 - 27.2</c:v>
                </c:pt>
                <c:pt idx="4">
                  <c:v>28.2 - 6.3</c:v>
                </c:pt>
                <c:pt idx="5">
                  <c:v>7.3 - 13.3</c:v>
                </c:pt>
                <c:pt idx="6">
                  <c:v>14.3 - 20.3</c:v>
                </c:pt>
                <c:pt idx="7">
                  <c:v>21.3 - 27.3</c:v>
                </c:pt>
                <c:pt idx="8">
                  <c:v>28.3 - 3.4</c:v>
                </c:pt>
                <c:pt idx="9">
                  <c:v>4.4 - 10.4</c:v>
                </c:pt>
                <c:pt idx="10">
                  <c:v>11.4 - 17.4</c:v>
                </c:pt>
                <c:pt idx="11">
                  <c:v>18.4 - 24.4</c:v>
                </c:pt>
                <c:pt idx="12">
                  <c:v>25.4 - 1.5</c:v>
                </c:pt>
                <c:pt idx="13">
                  <c:v>2.5 - 8.5</c:v>
                </c:pt>
                <c:pt idx="14">
                  <c:v>9.5 - 15.5</c:v>
                </c:pt>
                <c:pt idx="15">
                  <c:v>16.5 - 22.5</c:v>
                </c:pt>
                <c:pt idx="16">
                  <c:v>23.5 - 29.5</c:v>
                </c:pt>
              </c:strCache>
            </c:strRef>
          </c:cat>
          <c:val>
            <c:numRef>
              <c:f>List1!$B$7:$R$7</c:f>
              <c:numCache>
                <c:formatCode>###0</c:formatCode>
                <c:ptCount val="17"/>
                <c:pt idx="0">
                  <c:v>468.68851780409921</c:v>
                </c:pt>
                <c:pt idx="1">
                  <c:v>495.59993634701965</c:v>
                </c:pt>
                <c:pt idx="2">
                  <c:v>608.30084573804879</c:v>
                </c:pt>
                <c:pt idx="3">
                  <c:v>769.04050607670092</c:v>
                </c:pt>
                <c:pt idx="4">
                  <c:v>802.45551743416058</c:v>
                </c:pt>
                <c:pt idx="5">
                  <c:v>726.00092489312749</c:v>
                </c:pt>
                <c:pt idx="6">
                  <c:v>615.36509310556539</c:v>
                </c:pt>
                <c:pt idx="7">
                  <c:v>467.70737233638852</c:v>
                </c:pt>
                <c:pt idx="8">
                  <c:v>343.99894522190095</c:v>
                </c:pt>
                <c:pt idx="9">
                  <c:v>264.28321203104861</c:v>
                </c:pt>
                <c:pt idx="10">
                  <c:v>202.25612998663675</c:v>
                </c:pt>
                <c:pt idx="11">
                  <c:v>163.29998279724944</c:v>
                </c:pt>
                <c:pt idx="12">
                  <c:v>137.31364426674185</c:v>
                </c:pt>
                <c:pt idx="13">
                  <c:v>102.31011167584596</c:v>
                </c:pt>
                <c:pt idx="14">
                  <c:v>72.4365682446943</c:v>
                </c:pt>
                <c:pt idx="15">
                  <c:v>47.132359420309349</c:v>
                </c:pt>
                <c:pt idx="16">
                  <c:v>30.5930501074728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61C8-40CE-8367-01026AECBA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5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  <c:max val="1400"/>
        </c:scaling>
        <c:delete val="0"/>
        <c:axPos val="l"/>
        <c:numFmt formatCode="###0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Series 6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Jihočeský kraj</c:v>
                </c:pt>
                <c:pt idx="1">
                  <c:v>Olomoucký kraj</c:v>
                </c:pt>
                <c:pt idx="2">
                  <c:v>Zlínský kraj</c:v>
                </c:pt>
                <c:pt idx="3">
                  <c:v>Moravskoslezský kraj</c:v>
                </c:pt>
                <c:pt idx="4">
                  <c:v>Ústecký kraj</c:v>
                </c:pt>
                <c:pt idx="5">
                  <c:v>Liberecký kraj</c:v>
                </c:pt>
                <c:pt idx="6">
                  <c:v>Kraj Vysočina</c:v>
                </c:pt>
                <c:pt idx="7">
                  <c:v>ČR</c:v>
                </c:pt>
                <c:pt idx="8">
                  <c:v>Hlavní město Praha</c:v>
                </c:pt>
                <c:pt idx="9">
                  <c:v>Plzeňský kraj</c:v>
                </c:pt>
                <c:pt idx="10">
                  <c:v>Jihomoravský kraj</c:v>
                </c:pt>
                <c:pt idx="11">
                  <c:v>Pardubický kraj</c:v>
                </c:pt>
                <c:pt idx="12">
                  <c:v>Středočeský kraj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103.20922</c:v>
                </c:pt>
                <c:pt idx="1">
                  <c:v>61.921978000000003</c:v>
                </c:pt>
                <c:pt idx="2">
                  <c:v>59.614493000000003</c:v>
                </c:pt>
                <c:pt idx="3">
                  <c:v>58.788947999999998</c:v>
                </c:pt>
                <c:pt idx="4">
                  <c:v>58.530456999999998</c:v>
                </c:pt>
                <c:pt idx="5">
                  <c:v>58.068798000000001</c:v>
                </c:pt>
                <c:pt idx="6">
                  <c:v>54.428500999999997</c:v>
                </c:pt>
                <c:pt idx="7">
                  <c:v>48.275027999999999</c:v>
                </c:pt>
                <c:pt idx="8">
                  <c:v>48.011347999999998</c:v>
                </c:pt>
                <c:pt idx="9">
                  <c:v>43.848109999999998</c:v>
                </c:pt>
                <c:pt idx="10">
                  <c:v>35.508999000000003</c:v>
                </c:pt>
                <c:pt idx="11">
                  <c:v>31.236484000000001</c:v>
                </c:pt>
                <c:pt idx="12">
                  <c:v>30.630738000000001</c:v>
                </c:pt>
                <c:pt idx="13">
                  <c:v>20.411866</c:v>
                </c:pt>
                <c:pt idx="14">
                  <c:v>8.3762617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2B-4171-AE9D-D1549822F9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30.3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Jihočeský kraj</c:v>
                </c:pt>
                <c:pt idx="1">
                  <c:v>Olomoucký kraj</c:v>
                </c:pt>
                <c:pt idx="2">
                  <c:v>Zlínský kraj</c:v>
                </c:pt>
                <c:pt idx="3">
                  <c:v>Moravskoslezský kraj</c:v>
                </c:pt>
                <c:pt idx="4">
                  <c:v>Ústecký kraj</c:v>
                </c:pt>
                <c:pt idx="5">
                  <c:v>Liberecký kraj</c:v>
                </c:pt>
                <c:pt idx="6">
                  <c:v>Kraj Vysočina</c:v>
                </c:pt>
                <c:pt idx="7">
                  <c:v>ČR</c:v>
                </c:pt>
                <c:pt idx="8">
                  <c:v>Hlavní město Praha</c:v>
                </c:pt>
                <c:pt idx="9">
                  <c:v>Plzeňský kraj</c:v>
                </c:pt>
                <c:pt idx="10">
                  <c:v>Jihomoravský kraj</c:v>
                </c:pt>
                <c:pt idx="11">
                  <c:v>Pardubický kraj</c:v>
                </c:pt>
                <c:pt idx="12">
                  <c:v>Středočeský kraj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537.46690000000001</c:v>
                </c:pt>
                <c:pt idx="1">
                  <c:v>449.43371000000002</c:v>
                </c:pt>
                <c:pt idx="2">
                  <c:v>355.47901000000002</c:v>
                </c:pt>
                <c:pt idx="3">
                  <c:v>341.18585999999999</c:v>
                </c:pt>
                <c:pt idx="4">
                  <c:v>612.42844000000002</c:v>
                </c:pt>
                <c:pt idx="5">
                  <c:v>522.61918000000003</c:v>
                </c:pt>
                <c:pt idx="6">
                  <c:v>482.43444</c:v>
                </c:pt>
                <c:pt idx="7">
                  <c:v>411.70177000000001</c:v>
                </c:pt>
                <c:pt idx="8">
                  <c:v>340.44409999999999</c:v>
                </c:pt>
                <c:pt idx="9">
                  <c:v>339.82285000000002</c:v>
                </c:pt>
                <c:pt idx="10">
                  <c:v>346.21274</c:v>
                </c:pt>
                <c:pt idx="11">
                  <c:v>521.40900999999997</c:v>
                </c:pt>
                <c:pt idx="12">
                  <c:v>451.80338</c:v>
                </c:pt>
                <c:pt idx="13">
                  <c:v>265.35426000000001</c:v>
                </c:pt>
                <c:pt idx="14">
                  <c:v>113.07953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C6F-4ABE-BBEB-A66F965F780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3.4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Jihočeský kraj</c:v>
                </c:pt>
                <c:pt idx="1">
                  <c:v>Olomoucký kraj</c:v>
                </c:pt>
                <c:pt idx="2">
                  <c:v>Zlínský kraj</c:v>
                </c:pt>
                <c:pt idx="3">
                  <c:v>Moravskoslezský kraj</c:v>
                </c:pt>
                <c:pt idx="4">
                  <c:v>Ústecký kraj</c:v>
                </c:pt>
                <c:pt idx="5">
                  <c:v>Liberecký kraj</c:v>
                </c:pt>
                <c:pt idx="6">
                  <c:v>Kraj Vysočina</c:v>
                </c:pt>
                <c:pt idx="7">
                  <c:v>ČR</c:v>
                </c:pt>
                <c:pt idx="8">
                  <c:v>Hlavní město Praha</c:v>
                </c:pt>
                <c:pt idx="9">
                  <c:v>Plzeňský kraj</c:v>
                </c:pt>
                <c:pt idx="10">
                  <c:v>Jihomoravský kraj</c:v>
                </c:pt>
                <c:pt idx="11">
                  <c:v>Pardubický kraj</c:v>
                </c:pt>
                <c:pt idx="12">
                  <c:v>Středočeský kraj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C$2:$C$16</c:f>
              <c:numCache>
                <c:formatCode>General</c:formatCode>
                <c:ptCount val="15"/>
                <c:pt idx="0">
                  <c:v>368.04798</c:v>
                </c:pt>
                <c:pt idx="1">
                  <c:v>335.57717000000002</c:v>
                </c:pt>
                <c:pt idx="2">
                  <c:v>357.68696</c:v>
                </c:pt>
                <c:pt idx="3">
                  <c:v>293.94474000000002</c:v>
                </c:pt>
                <c:pt idx="4">
                  <c:v>362.60332</c:v>
                </c:pt>
                <c:pt idx="5">
                  <c:v>345.64760999999999</c:v>
                </c:pt>
                <c:pt idx="6">
                  <c:v>452.74617000000001</c:v>
                </c:pt>
                <c:pt idx="7">
                  <c:v>289.29433</c:v>
                </c:pt>
                <c:pt idx="8">
                  <c:v>200.77473000000001</c:v>
                </c:pt>
                <c:pt idx="9">
                  <c:v>197.31649999999999</c:v>
                </c:pt>
                <c:pt idx="10">
                  <c:v>250.78231</c:v>
                </c:pt>
                <c:pt idx="11">
                  <c:v>394.06026000000003</c:v>
                </c:pt>
                <c:pt idx="12">
                  <c:v>265.46640000000002</c:v>
                </c:pt>
                <c:pt idx="13">
                  <c:v>161.02694</c:v>
                </c:pt>
                <c:pt idx="14">
                  <c:v>129.83206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C6F-4ABE-BBEB-A66F965F7806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1.5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Jihočeský kraj</c:v>
                </c:pt>
                <c:pt idx="1">
                  <c:v>Olomoucký kraj</c:v>
                </c:pt>
                <c:pt idx="2">
                  <c:v>Zlínský kraj</c:v>
                </c:pt>
                <c:pt idx="3">
                  <c:v>Moravskoslezský kraj</c:v>
                </c:pt>
                <c:pt idx="4">
                  <c:v>Ústecký kraj</c:v>
                </c:pt>
                <c:pt idx="5">
                  <c:v>Liberecký kraj</c:v>
                </c:pt>
                <c:pt idx="6">
                  <c:v>Kraj Vysočina</c:v>
                </c:pt>
                <c:pt idx="7">
                  <c:v>ČR</c:v>
                </c:pt>
                <c:pt idx="8">
                  <c:v>Hlavní město Praha</c:v>
                </c:pt>
                <c:pt idx="9">
                  <c:v>Plzeňský kraj</c:v>
                </c:pt>
                <c:pt idx="10">
                  <c:v>Jihomoravský kraj</c:v>
                </c:pt>
                <c:pt idx="11">
                  <c:v>Pardubický kraj</c:v>
                </c:pt>
                <c:pt idx="12">
                  <c:v>Středočeský kraj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D$2:$D$16</c:f>
              <c:numCache>
                <c:formatCode>General</c:formatCode>
                <c:ptCount val="15"/>
                <c:pt idx="0">
                  <c:v>198.62907000000001</c:v>
                </c:pt>
                <c:pt idx="1">
                  <c:v>155.80368999999999</c:v>
                </c:pt>
                <c:pt idx="2">
                  <c:v>223.00236000000001</c:v>
                </c:pt>
                <c:pt idx="3">
                  <c:v>149.07196999999999</c:v>
                </c:pt>
                <c:pt idx="4">
                  <c:v>209.85310000000001</c:v>
                </c:pt>
                <c:pt idx="5">
                  <c:v>116.13760000000001</c:v>
                </c:pt>
                <c:pt idx="6">
                  <c:v>239.98021</c:v>
                </c:pt>
                <c:pt idx="7">
                  <c:v>148.62065999999999</c:v>
                </c:pt>
                <c:pt idx="8">
                  <c:v>108.02553</c:v>
                </c:pt>
                <c:pt idx="9">
                  <c:v>98.658248</c:v>
                </c:pt>
                <c:pt idx="10">
                  <c:v>175.32568000000001</c:v>
                </c:pt>
                <c:pt idx="11">
                  <c:v>153.77960999999999</c:v>
                </c:pt>
                <c:pt idx="12">
                  <c:v>124.22466</c:v>
                </c:pt>
                <c:pt idx="13">
                  <c:v>40.823732</c:v>
                </c:pt>
                <c:pt idx="14">
                  <c:v>58.633831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C6F-4ABE-BBEB-A66F965F7806}"/>
            </c:ext>
          </c:extLst>
        </c:ser>
        <c:ser>
          <c:idx val="2"/>
          <c:order val="3"/>
          <c:tx>
            <c:strRef>
              <c:f>Sheet1!$E$1</c:f>
              <c:strCache>
                <c:ptCount val="1"/>
                <c:pt idx="0">
                  <c:v>Sloupec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Jihočeský kraj</c:v>
                </c:pt>
                <c:pt idx="1">
                  <c:v>Olomoucký kraj</c:v>
                </c:pt>
                <c:pt idx="2">
                  <c:v>Zlínský kraj</c:v>
                </c:pt>
                <c:pt idx="3">
                  <c:v>Moravskoslezský kraj</c:v>
                </c:pt>
                <c:pt idx="4">
                  <c:v>Ústecký kraj</c:v>
                </c:pt>
                <c:pt idx="5">
                  <c:v>Liberecký kraj</c:v>
                </c:pt>
                <c:pt idx="6">
                  <c:v>Kraj Vysočina</c:v>
                </c:pt>
                <c:pt idx="7">
                  <c:v>ČR</c:v>
                </c:pt>
                <c:pt idx="8">
                  <c:v>Hlavní město Praha</c:v>
                </c:pt>
                <c:pt idx="9">
                  <c:v>Plzeňský kraj</c:v>
                </c:pt>
                <c:pt idx="10">
                  <c:v>Jihomoravský kraj</c:v>
                </c:pt>
                <c:pt idx="11">
                  <c:v>Pardubický kraj</c:v>
                </c:pt>
                <c:pt idx="12">
                  <c:v>Středočeský kraj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103.20922</c:v>
                </c:pt>
                <c:pt idx="1">
                  <c:v>61.921978000000003</c:v>
                </c:pt>
                <c:pt idx="2">
                  <c:v>59.614493000000003</c:v>
                </c:pt>
                <c:pt idx="3">
                  <c:v>58.788947999999998</c:v>
                </c:pt>
                <c:pt idx="4">
                  <c:v>58.530456999999998</c:v>
                </c:pt>
                <c:pt idx="5">
                  <c:v>58.068798000000001</c:v>
                </c:pt>
                <c:pt idx="6">
                  <c:v>54.428500999999997</c:v>
                </c:pt>
                <c:pt idx="7">
                  <c:v>48.275027999999999</c:v>
                </c:pt>
                <c:pt idx="8">
                  <c:v>48.011347999999998</c:v>
                </c:pt>
                <c:pt idx="9">
                  <c:v>43.848109999999998</c:v>
                </c:pt>
                <c:pt idx="10">
                  <c:v>35.508999000000003</c:v>
                </c:pt>
                <c:pt idx="11">
                  <c:v>31.236484000000001</c:v>
                </c:pt>
                <c:pt idx="12">
                  <c:v>30.630738000000001</c:v>
                </c:pt>
                <c:pt idx="13">
                  <c:v>20.411866</c:v>
                </c:pt>
                <c:pt idx="14">
                  <c:v>8.3762617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C6F-4ABE-BBEB-A66F965F780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8316191038232933E-2"/>
          <c:y val="3.3169839791542172E-2"/>
          <c:w val="0.87325910066909118"/>
          <c:h val="0.73613490142608773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Jihočeský kraj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31.1 - 6.2</c:v>
                </c:pt>
                <c:pt idx="1">
                  <c:v>7.2 - 13.2</c:v>
                </c:pt>
                <c:pt idx="2">
                  <c:v>14.2 - 20.2</c:v>
                </c:pt>
                <c:pt idx="3">
                  <c:v>21.2 - 27.2</c:v>
                </c:pt>
                <c:pt idx="4">
                  <c:v>28.2 - 6.3</c:v>
                </c:pt>
                <c:pt idx="5">
                  <c:v>7.3 - 13.3</c:v>
                </c:pt>
                <c:pt idx="6">
                  <c:v>14.3 - 20.3</c:v>
                </c:pt>
                <c:pt idx="7">
                  <c:v>21.3 - 27.3</c:v>
                </c:pt>
                <c:pt idx="8">
                  <c:v>28.3 - 3.4</c:v>
                </c:pt>
                <c:pt idx="9">
                  <c:v>4.4 - 10.4</c:v>
                </c:pt>
                <c:pt idx="10">
                  <c:v>11.4 - 17.4</c:v>
                </c:pt>
                <c:pt idx="11">
                  <c:v>18.4 - 24.4</c:v>
                </c:pt>
                <c:pt idx="12">
                  <c:v>25.4 - 1.5</c:v>
                </c:pt>
                <c:pt idx="13">
                  <c:v>2.5 - 8.5</c:v>
                </c:pt>
                <c:pt idx="14">
                  <c:v>9.5 - 15.5</c:v>
                </c:pt>
                <c:pt idx="15">
                  <c:v>16.5 - 22.5</c:v>
                </c:pt>
                <c:pt idx="16">
                  <c:v>23.5 - 29.5</c:v>
                </c:pt>
              </c:strCache>
            </c:strRef>
          </c:cat>
          <c:val>
            <c:numRef>
              <c:f>List1!$B$2:$R$2</c:f>
              <c:numCache>
                <c:formatCode>###0</c:formatCode>
                <c:ptCount val="17"/>
                <c:pt idx="0">
                  <c:v>375.57240995663113</c:v>
                </c:pt>
                <c:pt idx="1">
                  <c:v>389.71270342210624</c:v>
                </c:pt>
                <c:pt idx="2">
                  <c:v>469.89282900655877</c:v>
                </c:pt>
                <c:pt idx="3">
                  <c:v>665.99228343985146</c:v>
                </c:pt>
                <c:pt idx="4">
                  <c:v>824.79865620595695</c:v>
                </c:pt>
                <c:pt idx="5">
                  <c:v>847.64066872710907</c:v>
                </c:pt>
                <c:pt idx="6">
                  <c:v>808.17215729600264</c:v>
                </c:pt>
                <c:pt idx="7">
                  <c:v>619.06515567530755</c:v>
                </c:pt>
                <c:pt idx="8">
                  <c:v>429.02582701293278</c:v>
                </c:pt>
                <c:pt idx="9">
                  <c:v>365.47220033843456</c:v>
                </c:pt>
                <c:pt idx="10">
                  <c:v>256.7007121424719</c:v>
                </c:pt>
                <c:pt idx="11">
                  <c:v>234.79102666299943</c:v>
                </c:pt>
                <c:pt idx="12">
                  <c:v>196.09945443329269</c:v>
                </c:pt>
                <c:pt idx="13">
                  <c:v>153.21241051602743</c:v>
                </c:pt>
                <c:pt idx="14">
                  <c:v>98.515890737486188</c:v>
                </c:pt>
                <c:pt idx="15">
                  <c:v>59.668930667499524</c:v>
                </c:pt>
                <c:pt idx="16">
                  <c:v>40.7116141533460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607-48D1-AE66-CFF47B39A006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31.1 - 6.2</c:v>
                </c:pt>
                <c:pt idx="1">
                  <c:v>7.2 - 13.2</c:v>
                </c:pt>
                <c:pt idx="2">
                  <c:v>14.2 - 20.2</c:v>
                </c:pt>
                <c:pt idx="3">
                  <c:v>21.2 - 27.2</c:v>
                </c:pt>
                <c:pt idx="4">
                  <c:v>28.2 - 6.3</c:v>
                </c:pt>
                <c:pt idx="5">
                  <c:v>7.3 - 13.3</c:v>
                </c:pt>
                <c:pt idx="6">
                  <c:v>14.3 - 20.3</c:v>
                </c:pt>
                <c:pt idx="7">
                  <c:v>21.3 - 27.3</c:v>
                </c:pt>
                <c:pt idx="8">
                  <c:v>28.3 - 3.4</c:v>
                </c:pt>
                <c:pt idx="9">
                  <c:v>4.4 - 10.4</c:v>
                </c:pt>
                <c:pt idx="10">
                  <c:v>11.4 - 17.4</c:v>
                </c:pt>
                <c:pt idx="11">
                  <c:v>18.4 - 24.4</c:v>
                </c:pt>
                <c:pt idx="12">
                  <c:v>25.4 - 1.5</c:v>
                </c:pt>
                <c:pt idx="13">
                  <c:v>2.5 - 8.5</c:v>
                </c:pt>
                <c:pt idx="14">
                  <c:v>9.5 - 15.5</c:v>
                </c:pt>
                <c:pt idx="15">
                  <c:v>16.5 - 22.5</c:v>
                </c:pt>
                <c:pt idx="16">
                  <c:v>23.5 - 29.5</c:v>
                </c:pt>
              </c:strCache>
            </c:strRef>
          </c:cat>
          <c:val>
            <c:numRef>
              <c:f>List1!$B$3:$R$3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607-48D1-AE66-CFF47B39A006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31.1 - 6.2</c:v>
                </c:pt>
                <c:pt idx="1">
                  <c:v>7.2 - 13.2</c:v>
                </c:pt>
                <c:pt idx="2">
                  <c:v>14.2 - 20.2</c:v>
                </c:pt>
                <c:pt idx="3">
                  <c:v>21.2 - 27.2</c:v>
                </c:pt>
                <c:pt idx="4">
                  <c:v>28.2 - 6.3</c:v>
                </c:pt>
                <c:pt idx="5">
                  <c:v>7.3 - 13.3</c:v>
                </c:pt>
                <c:pt idx="6">
                  <c:v>14.3 - 20.3</c:v>
                </c:pt>
                <c:pt idx="7">
                  <c:v>21.3 - 27.3</c:v>
                </c:pt>
                <c:pt idx="8">
                  <c:v>28.3 - 3.4</c:v>
                </c:pt>
                <c:pt idx="9">
                  <c:v>4.4 - 10.4</c:v>
                </c:pt>
                <c:pt idx="10">
                  <c:v>11.4 - 17.4</c:v>
                </c:pt>
                <c:pt idx="11">
                  <c:v>18.4 - 24.4</c:v>
                </c:pt>
                <c:pt idx="12">
                  <c:v>25.4 - 1.5</c:v>
                </c:pt>
                <c:pt idx="13">
                  <c:v>2.5 - 8.5</c:v>
                </c:pt>
                <c:pt idx="14">
                  <c:v>9.5 - 15.5</c:v>
                </c:pt>
                <c:pt idx="15">
                  <c:v>16.5 - 22.5</c:v>
                </c:pt>
                <c:pt idx="16">
                  <c:v>23.5 - 29.5</c:v>
                </c:pt>
              </c:strCache>
            </c:strRef>
          </c:cat>
          <c:val>
            <c:numRef>
              <c:f>List1!$B$4:$R$4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9607-48D1-AE66-CFF47B39A006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31.1 - 6.2</c:v>
                </c:pt>
                <c:pt idx="1">
                  <c:v>7.2 - 13.2</c:v>
                </c:pt>
                <c:pt idx="2">
                  <c:v>14.2 - 20.2</c:v>
                </c:pt>
                <c:pt idx="3">
                  <c:v>21.2 - 27.2</c:v>
                </c:pt>
                <c:pt idx="4">
                  <c:v>28.2 - 6.3</c:v>
                </c:pt>
                <c:pt idx="5">
                  <c:v>7.3 - 13.3</c:v>
                </c:pt>
                <c:pt idx="6">
                  <c:v>14.3 - 20.3</c:v>
                </c:pt>
                <c:pt idx="7">
                  <c:v>21.3 - 27.3</c:v>
                </c:pt>
                <c:pt idx="8">
                  <c:v>28.3 - 3.4</c:v>
                </c:pt>
                <c:pt idx="9">
                  <c:v>4.4 - 10.4</c:v>
                </c:pt>
                <c:pt idx="10">
                  <c:v>11.4 - 17.4</c:v>
                </c:pt>
                <c:pt idx="11">
                  <c:v>18.4 - 24.4</c:v>
                </c:pt>
                <c:pt idx="12">
                  <c:v>25.4 - 1.5</c:v>
                </c:pt>
                <c:pt idx="13">
                  <c:v>2.5 - 8.5</c:v>
                </c:pt>
                <c:pt idx="14">
                  <c:v>9.5 - 15.5</c:v>
                </c:pt>
                <c:pt idx="15">
                  <c:v>16.5 - 22.5</c:v>
                </c:pt>
                <c:pt idx="16">
                  <c:v>23.5 - 29.5</c:v>
                </c:pt>
              </c:strCache>
            </c:strRef>
          </c:cat>
          <c:val>
            <c:numRef>
              <c:f>List1!$B$5:$R$5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9607-48D1-AE66-CFF47B39A006}"/>
            </c:ext>
          </c:extLst>
        </c:ser>
        <c:ser>
          <c:idx val="4"/>
          <c:order val="4"/>
          <c:tx>
            <c:strRef>
              <c:f>List1!$A$6</c:f>
              <c:strCache>
                <c:ptCount val="1"/>
              </c:strCache>
            </c:strRef>
          </c:tx>
          <c:spPr>
            <a:ln w="28575" cap="rnd">
              <a:solidFill>
                <a:schemeClr val="bg1">
                  <a:lumMod val="65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31.1 - 6.2</c:v>
                </c:pt>
                <c:pt idx="1">
                  <c:v>7.2 - 13.2</c:v>
                </c:pt>
                <c:pt idx="2">
                  <c:v>14.2 - 20.2</c:v>
                </c:pt>
                <c:pt idx="3">
                  <c:v>21.2 - 27.2</c:v>
                </c:pt>
                <c:pt idx="4">
                  <c:v>28.2 - 6.3</c:v>
                </c:pt>
                <c:pt idx="5">
                  <c:v>7.3 - 13.3</c:v>
                </c:pt>
                <c:pt idx="6">
                  <c:v>14.3 - 20.3</c:v>
                </c:pt>
                <c:pt idx="7">
                  <c:v>21.3 - 27.3</c:v>
                </c:pt>
                <c:pt idx="8">
                  <c:v>28.3 - 3.4</c:v>
                </c:pt>
                <c:pt idx="9">
                  <c:v>4.4 - 10.4</c:v>
                </c:pt>
                <c:pt idx="10">
                  <c:v>11.4 - 17.4</c:v>
                </c:pt>
                <c:pt idx="11">
                  <c:v>18.4 - 24.4</c:v>
                </c:pt>
                <c:pt idx="12">
                  <c:v>25.4 - 1.5</c:v>
                </c:pt>
                <c:pt idx="13">
                  <c:v>2.5 - 8.5</c:v>
                </c:pt>
                <c:pt idx="14">
                  <c:v>9.5 - 15.5</c:v>
                </c:pt>
                <c:pt idx="15">
                  <c:v>16.5 - 22.5</c:v>
                </c:pt>
                <c:pt idx="16">
                  <c:v>23.5 - 29.5</c:v>
                </c:pt>
              </c:strCache>
            </c:strRef>
          </c:cat>
          <c:val>
            <c:numRef>
              <c:f>List1!$B$6:$R$6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9607-48D1-AE66-CFF47B39A006}"/>
            </c:ext>
          </c:extLst>
        </c:ser>
        <c:ser>
          <c:idx val="5"/>
          <c:order val="5"/>
          <c:tx>
            <c:strRef>
              <c:f>List1!$A$7</c:f>
              <c:strCache>
                <c:ptCount val="1"/>
                <c:pt idx="0">
                  <c:v>Celá populace ČR</c:v>
                </c:pt>
              </c:strCache>
            </c:strRef>
          </c:tx>
          <c:spPr>
            <a:ln w="28575" cap="rnd">
              <a:solidFill>
                <a:schemeClr val="tx1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31.1 - 6.2</c:v>
                </c:pt>
                <c:pt idx="1">
                  <c:v>7.2 - 13.2</c:v>
                </c:pt>
                <c:pt idx="2">
                  <c:v>14.2 - 20.2</c:v>
                </c:pt>
                <c:pt idx="3">
                  <c:v>21.2 - 27.2</c:v>
                </c:pt>
                <c:pt idx="4">
                  <c:v>28.2 - 6.3</c:v>
                </c:pt>
                <c:pt idx="5">
                  <c:v>7.3 - 13.3</c:v>
                </c:pt>
                <c:pt idx="6">
                  <c:v>14.3 - 20.3</c:v>
                </c:pt>
                <c:pt idx="7">
                  <c:v>21.3 - 27.3</c:v>
                </c:pt>
                <c:pt idx="8">
                  <c:v>28.3 - 3.4</c:v>
                </c:pt>
                <c:pt idx="9">
                  <c:v>4.4 - 10.4</c:v>
                </c:pt>
                <c:pt idx="10">
                  <c:v>11.4 - 17.4</c:v>
                </c:pt>
                <c:pt idx="11">
                  <c:v>18.4 - 24.4</c:v>
                </c:pt>
                <c:pt idx="12">
                  <c:v>25.4 - 1.5</c:v>
                </c:pt>
                <c:pt idx="13">
                  <c:v>2.5 - 8.5</c:v>
                </c:pt>
                <c:pt idx="14">
                  <c:v>9.5 - 15.5</c:v>
                </c:pt>
                <c:pt idx="15">
                  <c:v>16.5 - 22.5</c:v>
                </c:pt>
                <c:pt idx="16">
                  <c:v>23.5 - 29.5</c:v>
                </c:pt>
              </c:strCache>
            </c:strRef>
          </c:cat>
          <c:val>
            <c:numRef>
              <c:f>List1!$B$7:$R$7</c:f>
              <c:numCache>
                <c:formatCode>###0</c:formatCode>
                <c:ptCount val="17"/>
                <c:pt idx="0">
                  <c:v>468.68851780409921</c:v>
                </c:pt>
                <c:pt idx="1">
                  <c:v>495.59993634701965</c:v>
                </c:pt>
                <c:pt idx="2">
                  <c:v>608.30084573804879</c:v>
                </c:pt>
                <c:pt idx="3">
                  <c:v>769.04050607670092</c:v>
                </c:pt>
                <c:pt idx="4">
                  <c:v>802.45551743416058</c:v>
                </c:pt>
                <c:pt idx="5">
                  <c:v>726.00092489312749</c:v>
                </c:pt>
                <c:pt idx="6">
                  <c:v>615.36509310556539</c:v>
                </c:pt>
                <c:pt idx="7">
                  <c:v>467.70737233638852</c:v>
                </c:pt>
                <c:pt idx="8">
                  <c:v>343.99894522190095</c:v>
                </c:pt>
                <c:pt idx="9">
                  <c:v>264.28321203104861</c:v>
                </c:pt>
                <c:pt idx="10">
                  <c:v>202.25612998663675</c:v>
                </c:pt>
                <c:pt idx="11">
                  <c:v>163.29998279724944</c:v>
                </c:pt>
                <c:pt idx="12">
                  <c:v>137.31364426674185</c:v>
                </c:pt>
                <c:pt idx="13">
                  <c:v>102.31011167584596</c:v>
                </c:pt>
                <c:pt idx="14">
                  <c:v>72.4365682446943</c:v>
                </c:pt>
                <c:pt idx="15">
                  <c:v>47.132359420309349</c:v>
                </c:pt>
                <c:pt idx="16">
                  <c:v>30.5930501074728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9607-48D1-AE66-CFF47B39A00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5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  <c:max val="1400"/>
        </c:scaling>
        <c:delete val="0"/>
        <c:axPos val="l"/>
        <c:numFmt formatCode="###0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 (zjednodušený výpočet) - 7 denní úseky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Pt>
            <c:idx val="8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D9B4-4B82-8A69-E8EE655F407B}"/>
              </c:ext>
            </c:extLst>
          </c:dPt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Plzeňský kraj</c:v>
                </c:pt>
                <c:pt idx="1">
                  <c:v>Ústecký kraj</c:v>
                </c:pt>
                <c:pt idx="2">
                  <c:v>Jihočeský kraj</c:v>
                </c:pt>
                <c:pt idx="3">
                  <c:v>Olomoucký kraj</c:v>
                </c:pt>
                <c:pt idx="4">
                  <c:v>Zlínský kraj</c:v>
                </c:pt>
                <c:pt idx="5">
                  <c:v>Středočeský kraj</c:v>
                </c:pt>
                <c:pt idx="6">
                  <c:v>ČR</c:v>
                </c:pt>
                <c:pt idx="7">
                  <c:v>Královéhradecký kraj</c:v>
                </c:pt>
                <c:pt idx="8">
                  <c:v>Hlavní město Praha</c:v>
                </c:pt>
                <c:pt idx="9">
                  <c:v>Liberecký kraj</c:v>
                </c:pt>
                <c:pt idx="10">
                  <c:v>Kraj Vysočina</c:v>
                </c:pt>
                <c:pt idx="11">
                  <c:v>Moravskoslezský kraj</c:v>
                </c:pt>
                <c:pt idx="12">
                  <c:v>Jihomoravský kraj</c:v>
                </c:pt>
                <c:pt idx="13">
                  <c:v>Pardubi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B$2:$B$16</c:f>
              <c:numCache>
                <c:formatCode>[$-10405]#\ ##0.00;\(#\ ##0.00\)</c:formatCode>
                <c:ptCount val="15"/>
                <c:pt idx="0">
                  <c:v>0.88043478260800001</c:v>
                </c:pt>
                <c:pt idx="1">
                  <c:v>0.85093167701799999</c:v>
                </c:pt>
                <c:pt idx="2">
                  <c:v>0.80615384615300001</c:v>
                </c:pt>
                <c:pt idx="3">
                  <c:v>0.77297297297199996</c:v>
                </c:pt>
                <c:pt idx="4">
                  <c:v>0.74473684210500002</c:v>
                </c:pt>
                <c:pt idx="5">
                  <c:v>0.74193548386999997</c:v>
                </c:pt>
                <c:pt idx="6">
                  <c:v>0.71924428822399999</c:v>
                </c:pt>
                <c:pt idx="7">
                  <c:v>0.71276595744600002</c:v>
                </c:pt>
                <c:pt idx="8">
                  <c:v>0.69581749049399999</c:v>
                </c:pt>
                <c:pt idx="9">
                  <c:v>0.67948717948699999</c:v>
                </c:pt>
                <c:pt idx="10">
                  <c:v>0.67364016736400001</c:v>
                </c:pt>
                <c:pt idx="11">
                  <c:v>0.66210670314599995</c:v>
                </c:pt>
                <c:pt idx="12">
                  <c:v>0.64748201438800002</c:v>
                </c:pt>
                <c:pt idx="13">
                  <c:v>0.59060402684500002</c:v>
                </c:pt>
                <c:pt idx="14">
                  <c:v>0.548387096773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2B-4171-AE9D-D1549822F9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[$-10405]#\ ##0.00;\(#\ ##0.00\)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30.3.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Olomoucký kraj</c:v>
                </c:pt>
                <c:pt idx="1">
                  <c:v>Jihočeský kraj</c:v>
                </c:pt>
                <c:pt idx="2">
                  <c:v>Plzeňský kraj</c:v>
                </c:pt>
                <c:pt idx="3">
                  <c:v>Liberecký kraj</c:v>
                </c:pt>
                <c:pt idx="4">
                  <c:v>Zlínský kraj</c:v>
                </c:pt>
                <c:pt idx="5">
                  <c:v>Jihomoravský kraj</c:v>
                </c:pt>
                <c:pt idx="6">
                  <c:v>Ústecký kraj</c:v>
                </c:pt>
                <c:pt idx="7">
                  <c:v>Moravskoslezský kraj</c:v>
                </c:pt>
                <c:pt idx="8">
                  <c:v>Kraj Vysočina</c:v>
                </c:pt>
                <c:pt idx="9">
                  <c:v>ČR</c:v>
                </c:pt>
                <c:pt idx="10">
                  <c:v>Středočeský kraj</c:v>
                </c:pt>
                <c:pt idx="11">
                  <c:v>Pardubický kraj</c:v>
                </c:pt>
                <c:pt idx="12">
                  <c:v>Hlavní město Praha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0.239261901069</c:v>
                </c:pt>
                <c:pt idx="1">
                  <c:v>0.26192946058</c:v>
                </c:pt>
                <c:pt idx="2">
                  <c:v>0.21386882975499999</c:v>
                </c:pt>
                <c:pt idx="3">
                  <c:v>0.20394530842200001</c:v>
                </c:pt>
                <c:pt idx="4">
                  <c:v>0.13695922286199999</c:v>
                </c:pt>
                <c:pt idx="5">
                  <c:v>0.19858951755000001</c:v>
                </c:pt>
                <c:pt idx="6">
                  <c:v>0.19288306629999999</c:v>
                </c:pt>
                <c:pt idx="7">
                  <c:v>0.147904547858</c:v>
                </c:pt>
                <c:pt idx="8">
                  <c:v>0.21105718185899999</c:v>
                </c:pt>
                <c:pt idx="9">
                  <c:v>0.17744312008099999</c:v>
                </c:pt>
                <c:pt idx="10">
                  <c:v>0.193624796968</c:v>
                </c:pt>
                <c:pt idx="11">
                  <c:v>0.168860420919</c:v>
                </c:pt>
                <c:pt idx="12">
                  <c:v>0.128173422466</c:v>
                </c:pt>
                <c:pt idx="13">
                  <c:v>0.116090301851</c:v>
                </c:pt>
                <c:pt idx="14">
                  <c:v>9.625126646399999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CFD-4C6E-9F7A-BB34FB4B8147}"/>
            </c:ext>
          </c:extLst>
        </c:ser>
        <c:ser>
          <c:idx val="2"/>
          <c:order val="1"/>
          <c:tx>
            <c:strRef>
              <c:f>Sheet1!$C$1</c:f>
              <c:strCache>
                <c:ptCount val="1"/>
                <c:pt idx="0">
                  <c:v>13.4.</c:v>
                </c:pt>
              </c:strCache>
            </c:strRef>
          </c:tx>
          <c:spPr>
            <a:solidFill>
              <a:srgbClr val="4010B7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Olomoucký kraj</c:v>
                </c:pt>
                <c:pt idx="1">
                  <c:v>Jihočeský kraj</c:v>
                </c:pt>
                <c:pt idx="2">
                  <c:v>Plzeňský kraj</c:v>
                </c:pt>
                <c:pt idx="3">
                  <c:v>Liberecký kraj</c:v>
                </c:pt>
                <c:pt idx="4">
                  <c:v>Zlínský kraj</c:v>
                </c:pt>
                <c:pt idx="5">
                  <c:v>Jihomoravský kraj</c:v>
                </c:pt>
                <c:pt idx="6">
                  <c:v>Ústecký kraj</c:v>
                </c:pt>
                <c:pt idx="7">
                  <c:v>Moravskoslezský kraj</c:v>
                </c:pt>
                <c:pt idx="8">
                  <c:v>Kraj Vysočina</c:v>
                </c:pt>
                <c:pt idx="9">
                  <c:v>ČR</c:v>
                </c:pt>
                <c:pt idx="10">
                  <c:v>Středočeský kraj</c:v>
                </c:pt>
                <c:pt idx="11">
                  <c:v>Pardubický kraj</c:v>
                </c:pt>
                <c:pt idx="12">
                  <c:v>Hlavní město Praha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C$2:$C$16</c:f>
              <c:numCache>
                <c:formatCode>General</c:formatCode>
                <c:ptCount val="15"/>
                <c:pt idx="0">
                  <c:v>0.228149201833</c:v>
                </c:pt>
                <c:pt idx="1">
                  <c:v>0.20980456560999999</c:v>
                </c:pt>
                <c:pt idx="2">
                  <c:v>0.126222222222</c:v>
                </c:pt>
                <c:pt idx="3">
                  <c:v>0.148610253242</c:v>
                </c:pt>
                <c:pt idx="4">
                  <c:v>0.113789878416</c:v>
                </c:pt>
                <c:pt idx="5">
                  <c:v>0.13610130071400001</c:v>
                </c:pt>
                <c:pt idx="6">
                  <c:v>0.130350580991</c:v>
                </c:pt>
                <c:pt idx="7">
                  <c:v>0.111920695478</c:v>
                </c:pt>
                <c:pt idx="8">
                  <c:v>0.16290473225400001</c:v>
                </c:pt>
                <c:pt idx="9">
                  <c:v>0.12658793628500001</c:v>
                </c:pt>
                <c:pt idx="10">
                  <c:v>0.11939308514999999</c:v>
                </c:pt>
                <c:pt idx="11">
                  <c:v>0.124385050297</c:v>
                </c:pt>
                <c:pt idx="12">
                  <c:v>8.2317801671999993E-2</c:v>
                </c:pt>
                <c:pt idx="13">
                  <c:v>5.6338028169E-2</c:v>
                </c:pt>
                <c:pt idx="14">
                  <c:v>5.9819661315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CFD-4C6E-9F7A-BB34FB4B8147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8.5.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Olomoucký kraj</c:v>
                </c:pt>
                <c:pt idx="1">
                  <c:v>Jihočeský kraj</c:v>
                </c:pt>
                <c:pt idx="2">
                  <c:v>Plzeňský kraj</c:v>
                </c:pt>
                <c:pt idx="3">
                  <c:v>Liberecký kraj</c:v>
                </c:pt>
                <c:pt idx="4">
                  <c:v>Zlínský kraj</c:v>
                </c:pt>
                <c:pt idx="5">
                  <c:v>Jihomoravský kraj</c:v>
                </c:pt>
                <c:pt idx="6">
                  <c:v>Ústecký kraj</c:v>
                </c:pt>
                <c:pt idx="7">
                  <c:v>Moravskoslezský kraj</c:v>
                </c:pt>
                <c:pt idx="8">
                  <c:v>Kraj Vysočina</c:v>
                </c:pt>
                <c:pt idx="9">
                  <c:v>ČR</c:v>
                </c:pt>
                <c:pt idx="10">
                  <c:v>Středočeský kraj</c:v>
                </c:pt>
                <c:pt idx="11">
                  <c:v>Pardubický kraj</c:v>
                </c:pt>
                <c:pt idx="12">
                  <c:v>Hlavní město Praha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D$2:$D$16</c:f>
              <c:numCache>
                <c:formatCode>General</c:formatCode>
                <c:ptCount val="15"/>
                <c:pt idx="0">
                  <c:v>9.3675287979999994E-2</c:v>
                </c:pt>
                <c:pt idx="1">
                  <c:v>0.10066829319999999</c:v>
                </c:pt>
                <c:pt idx="2">
                  <c:v>5.7052797478000003E-2</c:v>
                </c:pt>
                <c:pt idx="3">
                  <c:v>5.7447127643000001E-2</c:v>
                </c:pt>
                <c:pt idx="4">
                  <c:v>6.0396470972000002E-2</c:v>
                </c:pt>
                <c:pt idx="5">
                  <c:v>6.7817448608E-2</c:v>
                </c:pt>
                <c:pt idx="6">
                  <c:v>5.2666409307999998E-2</c:v>
                </c:pt>
                <c:pt idx="7">
                  <c:v>5.6445114046E-2</c:v>
                </c:pt>
                <c:pt idx="8">
                  <c:v>7.4259681093000005E-2</c:v>
                </c:pt>
                <c:pt idx="9">
                  <c:v>5.4183514171000001E-2</c:v>
                </c:pt>
                <c:pt idx="10">
                  <c:v>4.6602632514999999E-2</c:v>
                </c:pt>
                <c:pt idx="11">
                  <c:v>4.9288441512999999E-2</c:v>
                </c:pt>
                <c:pt idx="12">
                  <c:v>3.0418392863E-2</c:v>
                </c:pt>
                <c:pt idx="13">
                  <c:v>1.8317061831000001E-2</c:v>
                </c:pt>
                <c:pt idx="14">
                  <c:v>2.0631067961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CFD-4C6E-9F7A-BB34FB4B8147}"/>
            </c:ext>
          </c:extLst>
        </c:ser>
        <c:ser>
          <c:idx val="1"/>
          <c:order val="3"/>
          <c:tx>
            <c:strRef>
              <c:f>Sheet1!$E$1</c:f>
              <c:strCache>
                <c:ptCount val="1"/>
                <c:pt idx="0">
                  <c:v>Relativní pozitivita testů s diagnostickou/epidemiologickou indikací za 7 dní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Olomoucký kraj</c:v>
                </c:pt>
                <c:pt idx="1">
                  <c:v>Jihočeský kraj</c:v>
                </c:pt>
                <c:pt idx="2">
                  <c:v>Plzeňský kraj</c:v>
                </c:pt>
                <c:pt idx="3">
                  <c:v>Liberecký kraj</c:v>
                </c:pt>
                <c:pt idx="4">
                  <c:v>Zlínský kraj</c:v>
                </c:pt>
                <c:pt idx="5">
                  <c:v>Jihomoravský kraj</c:v>
                </c:pt>
                <c:pt idx="6">
                  <c:v>Ústecký kraj</c:v>
                </c:pt>
                <c:pt idx="7">
                  <c:v>Moravskoslezský kraj</c:v>
                </c:pt>
                <c:pt idx="8">
                  <c:v>Kraj Vysočina</c:v>
                </c:pt>
                <c:pt idx="9">
                  <c:v>ČR</c:v>
                </c:pt>
                <c:pt idx="10">
                  <c:v>Středočeský kraj</c:v>
                </c:pt>
                <c:pt idx="11">
                  <c:v>Pardubický kraj</c:v>
                </c:pt>
                <c:pt idx="12">
                  <c:v>Hlavní město Praha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E$2:$E$16</c:f>
              <c:numCache>
                <c:formatCode>[$-10405]0.0\ %</c:formatCode>
                <c:ptCount val="15"/>
                <c:pt idx="0">
                  <c:v>4.5068341337000002E-2</c:v>
                </c:pt>
                <c:pt idx="1">
                  <c:v>3.2840922963999999E-2</c:v>
                </c:pt>
                <c:pt idx="2">
                  <c:v>2.6563273387E-2</c:v>
                </c:pt>
                <c:pt idx="3">
                  <c:v>2.5356576862000001E-2</c:v>
                </c:pt>
                <c:pt idx="4">
                  <c:v>2.2516735411000001E-2</c:v>
                </c:pt>
                <c:pt idx="5">
                  <c:v>2.0039220492E-2</c:v>
                </c:pt>
                <c:pt idx="6">
                  <c:v>1.9945979637999999E-2</c:v>
                </c:pt>
                <c:pt idx="7">
                  <c:v>1.9684586162999999E-2</c:v>
                </c:pt>
                <c:pt idx="8">
                  <c:v>1.787140575E-2</c:v>
                </c:pt>
                <c:pt idx="9">
                  <c:v>1.7545943210000001E-2</c:v>
                </c:pt>
                <c:pt idx="10">
                  <c:v>1.2495568947E-2</c:v>
                </c:pt>
                <c:pt idx="11">
                  <c:v>1.0635445526000001E-2</c:v>
                </c:pt>
                <c:pt idx="12">
                  <c:v>8.7052999910000005E-3</c:v>
                </c:pt>
                <c:pt idx="13">
                  <c:v>6.8405301409999999E-3</c:v>
                </c:pt>
                <c:pt idx="14">
                  <c:v>5.7803468199999998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03A-4D9C-A061-EA9939A57C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0%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elativní pozitivita testů s diagnostickou/epidemiologickou indikací za 7 dní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Pt>
            <c:idx val="8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58E-4319-A6B1-3BB003D05972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Olomoucký kraj</c:v>
                </c:pt>
                <c:pt idx="1">
                  <c:v>Jihočeský kraj</c:v>
                </c:pt>
                <c:pt idx="2">
                  <c:v>Plzeňský kraj</c:v>
                </c:pt>
                <c:pt idx="3">
                  <c:v>Liberecký kraj</c:v>
                </c:pt>
                <c:pt idx="4">
                  <c:v>Zlínský kraj</c:v>
                </c:pt>
                <c:pt idx="5">
                  <c:v>Jihomoravský kraj</c:v>
                </c:pt>
                <c:pt idx="6">
                  <c:v>Ústecký kraj</c:v>
                </c:pt>
                <c:pt idx="7">
                  <c:v>Moravskoslezský kraj</c:v>
                </c:pt>
                <c:pt idx="8">
                  <c:v>Kraj Vysočina</c:v>
                </c:pt>
                <c:pt idx="9">
                  <c:v>ČR</c:v>
                </c:pt>
                <c:pt idx="10">
                  <c:v>Středočeský kraj</c:v>
                </c:pt>
                <c:pt idx="11">
                  <c:v>Pardubický kraj</c:v>
                </c:pt>
                <c:pt idx="12">
                  <c:v>Hlavní město Praha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B$2:$B$16</c:f>
              <c:numCache>
                <c:formatCode>[$-10405]0.0\ %</c:formatCode>
                <c:ptCount val="15"/>
                <c:pt idx="0">
                  <c:v>4.5068341337000002E-2</c:v>
                </c:pt>
                <c:pt idx="1">
                  <c:v>3.2840922963999999E-2</c:v>
                </c:pt>
                <c:pt idx="2">
                  <c:v>2.6563273387E-2</c:v>
                </c:pt>
                <c:pt idx="3">
                  <c:v>2.5356576862000001E-2</c:v>
                </c:pt>
                <c:pt idx="4">
                  <c:v>2.2516735411000001E-2</c:v>
                </c:pt>
                <c:pt idx="5">
                  <c:v>2.0039220492E-2</c:v>
                </c:pt>
                <c:pt idx="6">
                  <c:v>1.9945979637999999E-2</c:v>
                </c:pt>
                <c:pt idx="7">
                  <c:v>1.9684586162999999E-2</c:v>
                </c:pt>
                <c:pt idx="8">
                  <c:v>1.787140575E-2</c:v>
                </c:pt>
                <c:pt idx="9">
                  <c:v>1.7545943210000001E-2</c:v>
                </c:pt>
                <c:pt idx="10">
                  <c:v>1.2495568947E-2</c:v>
                </c:pt>
                <c:pt idx="11">
                  <c:v>1.0635445526000001E-2</c:v>
                </c:pt>
                <c:pt idx="12">
                  <c:v>8.7052999910000005E-3</c:v>
                </c:pt>
                <c:pt idx="13">
                  <c:v>6.8405301409999999E-3</c:v>
                </c:pt>
                <c:pt idx="14">
                  <c:v>5.7803468199999998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58E-4319-A6B1-3BB003D059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0%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30.3.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Olomoucký kraj</c:v>
                </c:pt>
                <c:pt idx="2">
                  <c:v>Moravskoslezský kraj</c:v>
                </c:pt>
                <c:pt idx="3">
                  <c:v>Jihočeský kraj</c:v>
                </c:pt>
                <c:pt idx="4">
                  <c:v>Ústecký kraj</c:v>
                </c:pt>
                <c:pt idx="5">
                  <c:v>Liberecký kraj</c:v>
                </c:pt>
                <c:pt idx="6">
                  <c:v>Jihomoravský kraj</c:v>
                </c:pt>
                <c:pt idx="7">
                  <c:v>ČR</c:v>
                </c:pt>
                <c:pt idx="8">
                  <c:v>Plzeňský kraj</c:v>
                </c:pt>
                <c:pt idx="9">
                  <c:v>Hlavní město Praha</c:v>
                </c:pt>
                <c:pt idx="10">
                  <c:v>Kraj Vysočina</c:v>
                </c:pt>
                <c:pt idx="11">
                  <c:v>Středočeský kraj</c:v>
                </c:pt>
                <c:pt idx="12">
                  <c:v>Pardubický kraj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241.15741770222999</c:v>
                </c:pt>
                <c:pt idx="1">
                  <c:v>239.32551124306499</c:v>
                </c:pt>
                <c:pt idx="2">
                  <c:v>231.71707043897101</c:v>
                </c:pt>
                <c:pt idx="3">
                  <c:v>313.41727384465202</c:v>
                </c:pt>
                <c:pt idx="4">
                  <c:v>338.798830850277</c:v>
                </c:pt>
                <c:pt idx="5">
                  <c:v>277.07717480722101</c:v>
                </c:pt>
                <c:pt idx="6">
                  <c:v>238.09384377664</c:v>
                </c:pt>
                <c:pt idx="7">
                  <c:v>234.42835708499601</c:v>
                </c:pt>
                <c:pt idx="8">
                  <c:v>209.630127182378</c:v>
                </c:pt>
                <c:pt idx="9">
                  <c:v>179.539264945127</c:v>
                </c:pt>
                <c:pt idx="10">
                  <c:v>207.132918805467</c:v>
                </c:pt>
                <c:pt idx="11">
                  <c:v>242.847445309253</c:v>
                </c:pt>
                <c:pt idx="12">
                  <c:v>264.50877488256799</c:v>
                </c:pt>
                <c:pt idx="13">
                  <c:v>139.614344874664</c:v>
                </c:pt>
                <c:pt idx="14">
                  <c:v>99.8939691999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CFD-4C6E-9F7A-BB34FB4B8147}"/>
            </c:ext>
          </c:extLst>
        </c:ser>
        <c:ser>
          <c:idx val="2"/>
          <c:order val="1"/>
          <c:tx>
            <c:strRef>
              <c:f>Sheet1!$C$1</c:f>
              <c:strCache>
                <c:ptCount val="1"/>
                <c:pt idx="0">
                  <c:v>13.4.</c:v>
                </c:pt>
              </c:strCache>
            </c:strRef>
          </c:tx>
          <c:spPr>
            <a:solidFill>
              <a:srgbClr val="4010B7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Olomoucký kraj</c:v>
                </c:pt>
                <c:pt idx="2">
                  <c:v>Moravskoslezský kraj</c:v>
                </c:pt>
                <c:pt idx="3">
                  <c:v>Jihočeský kraj</c:v>
                </c:pt>
                <c:pt idx="4">
                  <c:v>Ústecký kraj</c:v>
                </c:pt>
                <c:pt idx="5">
                  <c:v>Liberecký kraj</c:v>
                </c:pt>
                <c:pt idx="6">
                  <c:v>Jihomoravský kraj</c:v>
                </c:pt>
                <c:pt idx="7">
                  <c:v>ČR</c:v>
                </c:pt>
                <c:pt idx="8">
                  <c:v>Plzeňský kraj</c:v>
                </c:pt>
                <c:pt idx="9">
                  <c:v>Hlavní město Praha</c:v>
                </c:pt>
                <c:pt idx="10">
                  <c:v>Kraj Vysočina</c:v>
                </c:pt>
                <c:pt idx="11">
                  <c:v>Středočeský kraj</c:v>
                </c:pt>
                <c:pt idx="12">
                  <c:v>Pardubický kraj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C$2:$C$16</c:f>
              <c:numCache>
                <c:formatCode>General</c:formatCode>
                <c:ptCount val="15"/>
                <c:pt idx="0">
                  <c:v>213.576869573311</c:v>
                </c:pt>
                <c:pt idx="1">
                  <c:v>203.32359537018499</c:v>
                </c:pt>
                <c:pt idx="2">
                  <c:v>176.889659416146</c:v>
                </c:pt>
                <c:pt idx="3">
                  <c:v>201.071865322251</c:v>
                </c:pt>
                <c:pt idx="4">
                  <c:v>202.079793978976</c:v>
                </c:pt>
                <c:pt idx="5">
                  <c:v>155.036657355427</c:v>
                </c:pt>
                <c:pt idx="6">
                  <c:v>156.19156933625601</c:v>
                </c:pt>
                <c:pt idx="7">
                  <c:v>152.91852932461501</c:v>
                </c:pt>
                <c:pt idx="8">
                  <c:v>100.83902808772901</c:v>
                </c:pt>
                <c:pt idx="9">
                  <c:v>111.228956380272</c:v>
                </c:pt>
                <c:pt idx="10">
                  <c:v>156.627074276999</c:v>
                </c:pt>
                <c:pt idx="11">
                  <c:v>131.75993939901099</c:v>
                </c:pt>
                <c:pt idx="12">
                  <c:v>186.85833193078</c:v>
                </c:pt>
                <c:pt idx="13">
                  <c:v>60.094080823814998</c:v>
                </c:pt>
                <c:pt idx="14">
                  <c:v>64.43672415967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CFD-4C6E-9F7A-BB34FB4B8147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8.5.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Olomoucký kraj</c:v>
                </c:pt>
                <c:pt idx="2">
                  <c:v>Moravskoslezský kraj</c:v>
                </c:pt>
                <c:pt idx="3">
                  <c:v>Jihočeský kraj</c:v>
                </c:pt>
                <c:pt idx="4">
                  <c:v>Ústecký kraj</c:v>
                </c:pt>
                <c:pt idx="5">
                  <c:v>Liberecký kraj</c:v>
                </c:pt>
                <c:pt idx="6">
                  <c:v>Jihomoravský kraj</c:v>
                </c:pt>
                <c:pt idx="7">
                  <c:v>ČR</c:v>
                </c:pt>
                <c:pt idx="8">
                  <c:v>Plzeňský kraj</c:v>
                </c:pt>
                <c:pt idx="9">
                  <c:v>Hlavní město Praha</c:v>
                </c:pt>
                <c:pt idx="10">
                  <c:v>Kraj Vysočina</c:v>
                </c:pt>
                <c:pt idx="11">
                  <c:v>Středočeský kraj</c:v>
                </c:pt>
                <c:pt idx="12">
                  <c:v>Pardubický kraj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D$2:$D$16</c:f>
              <c:numCache>
                <c:formatCode>General</c:formatCode>
                <c:ptCount val="15"/>
                <c:pt idx="0">
                  <c:v>78.259805315804996</c:v>
                </c:pt>
                <c:pt idx="1">
                  <c:v>53.130580693456999</c:v>
                </c:pt>
                <c:pt idx="2">
                  <c:v>71.175033575501004</c:v>
                </c:pt>
                <c:pt idx="3">
                  <c:v>84.220209431731007</c:v>
                </c:pt>
                <c:pt idx="4">
                  <c:v>67.074335009375005</c:v>
                </c:pt>
                <c:pt idx="5">
                  <c:v>50.172212730181002</c:v>
                </c:pt>
                <c:pt idx="6">
                  <c:v>58.728699343358997</c:v>
                </c:pt>
                <c:pt idx="7">
                  <c:v>52.598741311840001</c:v>
                </c:pt>
                <c:pt idx="8">
                  <c:v>29.777968025905999</c:v>
                </c:pt>
                <c:pt idx="9">
                  <c:v>39.548073379652003</c:v>
                </c:pt>
                <c:pt idx="10">
                  <c:v>59.938842728337001</c:v>
                </c:pt>
                <c:pt idx="11">
                  <c:v>42.346299741701003</c:v>
                </c:pt>
                <c:pt idx="12">
                  <c:v>42.841623697537997</c:v>
                </c:pt>
                <c:pt idx="13">
                  <c:v>16.884439627235</c:v>
                </c:pt>
                <c:pt idx="14">
                  <c:v>17.7286225201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CFD-4C6E-9F7A-BB34FB4B8147}"/>
            </c:ext>
          </c:extLst>
        </c:ser>
        <c:ser>
          <c:idx val="1"/>
          <c:order val="3"/>
          <c:tx>
            <c:strRef>
              <c:f>Sheet1!$E$1</c:f>
              <c:strCache>
                <c:ptCount val="1"/>
                <c:pt idx="0">
                  <c:v>Symptomatičtí pozitivní na 100 000 obyvatel za 7 dní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Olomoucký kraj</c:v>
                </c:pt>
                <c:pt idx="2">
                  <c:v>Moravskoslezský kraj</c:v>
                </c:pt>
                <c:pt idx="3">
                  <c:v>Jihočeský kraj</c:v>
                </c:pt>
                <c:pt idx="4">
                  <c:v>Ústecký kraj</c:v>
                </c:pt>
                <c:pt idx="5">
                  <c:v>Liberecký kraj</c:v>
                </c:pt>
                <c:pt idx="6">
                  <c:v>Jihomoravský kraj</c:v>
                </c:pt>
                <c:pt idx="7">
                  <c:v>ČR</c:v>
                </c:pt>
                <c:pt idx="8">
                  <c:v>Plzeňský kraj</c:v>
                </c:pt>
                <c:pt idx="9">
                  <c:v>Hlavní město Praha</c:v>
                </c:pt>
                <c:pt idx="10">
                  <c:v>Kraj Vysočina</c:v>
                </c:pt>
                <c:pt idx="11">
                  <c:v>Středočeský kraj</c:v>
                </c:pt>
                <c:pt idx="12">
                  <c:v>Pardubický kraj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E$2:$E$16</c:f>
              <c:numCache>
                <c:formatCode>[$-10405]#\ ##0.0;\(#\ ##0.0\)</c:formatCode>
                <c:ptCount val="15"/>
                <c:pt idx="0">
                  <c:v>29.304332386974998</c:v>
                </c:pt>
                <c:pt idx="1">
                  <c:v>24.582805992495</c:v>
                </c:pt>
                <c:pt idx="2">
                  <c:v>20.706988566724</c:v>
                </c:pt>
                <c:pt idx="3">
                  <c:v>20.666582757232</c:v>
                </c:pt>
                <c:pt idx="4">
                  <c:v>18.726958497142999</c:v>
                </c:pt>
                <c:pt idx="5">
                  <c:v>18.306077617768999</c:v>
                </c:pt>
                <c:pt idx="6">
                  <c:v>17.233777869988</c:v>
                </c:pt>
                <c:pt idx="7">
                  <c:v>15.595540815324</c:v>
                </c:pt>
                <c:pt idx="8">
                  <c:v>13.197054011481001</c:v>
                </c:pt>
                <c:pt idx="9">
                  <c:v>11.909363006372001</c:v>
                </c:pt>
                <c:pt idx="10">
                  <c:v>10.808643770683</c:v>
                </c:pt>
                <c:pt idx="11">
                  <c:v>10.586574935425</c:v>
                </c:pt>
                <c:pt idx="12">
                  <c:v>8.9890906865370006</c:v>
                </c:pt>
                <c:pt idx="13">
                  <c:v>5.0834871995970001</c:v>
                </c:pt>
                <c:pt idx="14">
                  <c:v>2.386545339247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5AA-41EA-9F16-8BB4B107D44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7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8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9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31.05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0125359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4557134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7210876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4890765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144769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8575845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6034054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3474103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508968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3584CE-9EBC-AD46-8819-745BF0C92CFB}" type="slidenum">
              <a:rPr kumimoji="0" lang="en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6</a:t>
            </a:fld>
            <a:endParaRPr kumimoji="0" lang="en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737370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284881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390480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7186580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6923564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0868209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6750956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9144770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935055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8.svg"/><Relationship Id="rId5" Type="http://schemas.openxmlformats.org/officeDocument/2006/relationships/image" Target="../media/image6.png"/><Relationship Id="rId4" Type="http://schemas.openxmlformats.org/officeDocument/2006/relationships/image" Target="../media/image4.png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6.svg"/><Relationship Id="rId5" Type="http://schemas.openxmlformats.org/officeDocument/2006/relationships/image" Target="../media/image8.png"/><Relationship Id="rId4" Type="http://schemas.openxmlformats.org/officeDocument/2006/relationships/image" Target="../media/image8.sv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3.png"/><Relationship Id="rId5" Type="http://schemas.openxmlformats.org/officeDocument/2006/relationships/image" Target="../media/image6.svg"/><Relationship Id="rId4" Type="http://schemas.openxmlformats.org/officeDocument/2006/relationships/image" Target="../media/image10.pn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3.png"/><Relationship Id="rId5" Type="http://schemas.openxmlformats.org/officeDocument/2006/relationships/image" Target="../media/image6.svg"/><Relationship Id="rId4" Type="http://schemas.openxmlformats.org/officeDocument/2006/relationships/image" Target="../media/image10.pn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3.png"/><Relationship Id="rId5" Type="http://schemas.openxmlformats.org/officeDocument/2006/relationships/image" Target="../media/image6.svg"/><Relationship Id="rId4" Type="http://schemas.openxmlformats.org/officeDocument/2006/relationships/image" Target="../media/image10.pn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8.svg"/><Relationship Id="rId5" Type="http://schemas.openxmlformats.org/officeDocument/2006/relationships/image" Target="../media/image6.png"/><Relationship Id="rId4" Type="http://schemas.openxmlformats.org/officeDocument/2006/relationships/image" Target="../media/image4.png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6.svg"/><Relationship Id="rId5" Type="http://schemas.openxmlformats.org/officeDocument/2006/relationships/image" Target="../media/image8.png"/><Relationship Id="rId4" Type="http://schemas.openxmlformats.org/officeDocument/2006/relationships/image" Target="../media/image8.sv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11.png"/><Relationship Id="rId5" Type="http://schemas.openxmlformats.org/officeDocument/2006/relationships/image" Target="../media/image6.svg"/><Relationship Id="rId4" Type="http://schemas.openxmlformats.org/officeDocument/2006/relationships/image" Target="../media/image10.pn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11.png"/><Relationship Id="rId5" Type="http://schemas.openxmlformats.org/officeDocument/2006/relationships/image" Target="../media/image6.svg"/><Relationship Id="rId4" Type="http://schemas.openxmlformats.org/officeDocument/2006/relationships/image" Target="../media/image10.pn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11.png"/><Relationship Id="rId5" Type="http://schemas.openxmlformats.org/officeDocument/2006/relationships/image" Target="../media/image6.svg"/><Relationship Id="rId4" Type="http://schemas.openxmlformats.org/officeDocument/2006/relationships/image" Target="../media/image10.pn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8.svg"/><Relationship Id="rId5" Type="http://schemas.openxmlformats.org/officeDocument/2006/relationships/image" Target="../media/image6.png"/><Relationship Id="rId4" Type="http://schemas.openxmlformats.org/officeDocument/2006/relationships/image" Target="../media/image4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11.png"/><Relationship Id="rId5" Type="http://schemas.openxmlformats.org/officeDocument/2006/relationships/image" Target="../media/image6.svg"/><Relationship Id="rId4" Type="http://schemas.openxmlformats.org/officeDocument/2006/relationships/image" Target="../media/image10.png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6.svg"/><Relationship Id="rId5" Type="http://schemas.openxmlformats.org/officeDocument/2006/relationships/image" Target="../media/image8.png"/><Relationship Id="rId4" Type="http://schemas.openxmlformats.org/officeDocument/2006/relationships/image" Target="../media/image8.svg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35381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3EF8E94-026C-4341-B09E-E0FB30A2BA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90670218-0D2B-45AF-8CEE-4DF7A0BA97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BFFD3F4B-DA25-4423-9234-6270FB4E0C1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57E2AC16-B4BF-4A45-92DD-CD16581B2D7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7000A558-D06F-4CAD-88FC-71F13523FA6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118A76E9-680A-4BC2-86CB-5D2DB66F56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31.05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1152DBE4-0E61-401B-BD63-91D12BCAE9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C424E131-06CD-4DDF-BC06-F98D2D3B9B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615191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85B3AFD-D5D4-46CB-9F1D-95D2EFDFBB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B1BD99F9-6247-4A54-87C4-9749A54B1A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31.05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F8DBF052-AB7F-4048-9680-0492DCE6D0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B92A02BA-2BB6-4CF6-8B58-CFAA66013A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3611215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D612E4EC-12D7-42E4-AE43-F6D7008AB3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31.05.2021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2706D130-0739-4330-9775-702FDF7EE7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A94FAE36-22DA-4CEF-82CE-F85F3D6E5E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1894052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C0AC2F0-B610-42BD-9258-BE4E8A4796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9594586C-48B1-4459-A0A6-DFA4C0FE38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7618E00B-DFA9-4ABA-9E89-EC4C6B3AC9F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0E3D956F-D736-467D-809E-A6B8EBBB7B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31.05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EA2BC7A4-764C-4169-ADBC-7F1248B44C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B88FFD62-2584-4271-8B43-930689E422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0419658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55F6CA7-4510-4C38-AB29-269B0667E7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525F525D-76F8-4F89-ACDB-370F1E3E47C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0513CD65-3F93-416A-8079-50A6B39FD29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6FE6EB9A-EACF-42B5-8677-B501B2A425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31.05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C6CB2E11-5C59-4983-B23C-9405031356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A284666C-EC8D-44A8-94DD-5735F90594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5393129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7C593D8-E6C3-42E0-91E5-34BBFE7635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07D27C9F-D286-49AD-B637-AB03985B6A0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0051D3F-4680-4DFE-9D28-92707289CE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31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1A2C8DA-A4B9-4CA7-8902-C297ECB62B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4C9B13D-3976-43E2-9805-3E309ABC75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4967256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2A4CD9B6-8A80-4B59-B5D5-0A7202A073E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3D6E8B14-04CE-430A-97C5-E63E3AC6241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CA124C15-1E21-44AA-B0CF-567922D2D9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31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77C4AD0-92D5-4BED-AD8D-2078F6B78A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065E49F-34C0-46C8-AAEF-3C9FAFE7C2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0445337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422711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168135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1878458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97903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4334566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119486590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8752291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31.05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6073537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9" name="Skupina 8">
            <a:extLst>
              <a:ext uri="{FF2B5EF4-FFF2-40B4-BE49-F238E27FC236}">
                <a16:creationId xmlns:a16="http://schemas.microsoft.com/office/drawing/2014/main" id="{ED3D988A-38CF-4B35-BE79-653349F08EA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0" name="Grafický objekt 9">
              <a:extLst>
                <a:ext uri="{FF2B5EF4-FFF2-40B4-BE49-F238E27FC236}">
                  <a16:creationId xmlns:a16="http://schemas.microsoft.com/office/drawing/2014/main" id="{1E4874C8-049D-425A-B61A-352FEB3182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1" name="Grafický objekt 10">
              <a:extLst>
                <a:ext uri="{FF2B5EF4-FFF2-40B4-BE49-F238E27FC236}">
                  <a16:creationId xmlns:a16="http://schemas.microsoft.com/office/drawing/2014/main" id="{9AB1B653-4A88-4E8D-96A2-5C0EBB7FB47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538939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9F1456EA-4541-48E1-AB60-E6DAB56C558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E01E90ED-357E-40A6-AD28-747087321CDD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5" name="Grafický objekt 14">
                <a:extLst>
                  <a:ext uri="{FF2B5EF4-FFF2-40B4-BE49-F238E27FC236}">
                    <a16:creationId xmlns:a16="http://schemas.microsoft.com/office/drawing/2014/main" id="{7F8E84A5-6449-432E-ADB6-18264DBF2B8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6" name="Grafický objekt 15">
                <a:extLst>
                  <a:ext uri="{FF2B5EF4-FFF2-40B4-BE49-F238E27FC236}">
                    <a16:creationId xmlns:a16="http://schemas.microsoft.com/office/drawing/2014/main" id="{5D0E2827-15A6-4BAB-ACC7-CB3D469C1A1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4" name="Obrázek 13" descr="Obsah obrázku kreslení&#10;&#10;Popis byl vytvořen automaticky">
              <a:extLst>
                <a:ext uri="{FF2B5EF4-FFF2-40B4-BE49-F238E27FC236}">
                  <a16:creationId xmlns:a16="http://schemas.microsoft.com/office/drawing/2014/main" id="{8973F025-355D-4512-B710-6105D84C116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152092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593EA5D4-B03A-4B11-A4C0-282F833283D5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2" name="Skupina 11">
              <a:extLst>
                <a:ext uri="{FF2B5EF4-FFF2-40B4-BE49-F238E27FC236}">
                  <a16:creationId xmlns:a16="http://schemas.microsoft.com/office/drawing/2014/main" id="{0E5FA04C-AABA-46E8-A370-3327A676F38D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5" name="Grafický objekt 14">
                <a:extLst>
                  <a:ext uri="{FF2B5EF4-FFF2-40B4-BE49-F238E27FC236}">
                    <a16:creationId xmlns:a16="http://schemas.microsoft.com/office/drawing/2014/main" id="{BBC17E35-0B10-48FD-91F9-B3AB3B12316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6" name="Grafický objekt 15">
                <a:extLst>
                  <a:ext uri="{FF2B5EF4-FFF2-40B4-BE49-F238E27FC236}">
                    <a16:creationId xmlns:a16="http://schemas.microsoft.com/office/drawing/2014/main" id="{5B4162CB-0524-4344-AE6A-3B7812F497EC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4" name="Obrázek 13" descr="Obsah obrázku kreslení&#10;&#10;Popis byl vytvořen automaticky">
              <a:extLst>
                <a:ext uri="{FF2B5EF4-FFF2-40B4-BE49-F238E27FC236}">
                  <a16:creationId xmlns:a16="http://schemas.microsoft.com/office/drawing/2014/main" id="{21835B84-8F55-43D8-954E-4CF1DE31F1A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534611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9" name="Skupina 8">
            <a:extLst>
              <a:ext uri="{FF2B5EF4-FFF2-40B4-BE49-F238E27FC236}">
                <a16:creationId xmlns:a16="http://schemas.microsoft.com/office/drawing/2014/main" id="{2BBEA9DF-5A8A-4302-AFFF-E12DBC52A245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0" name="Skupina 9">
              <a:extLst>
                <a:ext uri="{FF2B5EF4-FFF2-40B4-BE49-F238E27FC236}">
                  <a16:creationId xmlns:a16="http://schemas.microsoft.com/office/drawing/2014/main" id="{E1B4E032-66E8-49E2-854E-F1371E2F8485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2" name="Grafický objekt 11">
                <a:extLst>
                  <a:ext uri="{FF2B5EF4-FFF2-40B4-BE49-F238E27FC236}">
                    <a16:creationId xmlns:a16="http://schemas.microsoft.com/office/drawing/2014/main" id="{BC470F14-8C7A-4F18-B530-7CC671133840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3" name="Grafický objekt 12">
                <a:extLst>
                  <a:ext uri="{FF2B5EF4-FFF2-40B4-BE49-F238E27FC236}">
                    <a16:creationId xmlns:a16="http://schemas.microsoft.com/office/drawing/2014/main" id="{E7742909-C46D-44BD-B539-A4F7ABD251C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1" name="Obrázek 10" descr="Obsah obrázku kreslení&#10;&#10;Popis byl vytvořen automaticky">
              <a:extLst>
                <a:ext uri="{FF2B5EF4-FFF2-40B4-BE49-F238E27FC236}">
                  <a16:creationId xmlns:a16="http://schemas.microsoft.com/office/drawing/2014/main" id="{1763603A-3381-4433-AF56-EE1B4176572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4211972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8" name="Skupina 7">
            <a:extLst>
              <a:ext uri="{FF2B5EF4-FFF2-40B4-BE49-F238E27FC236}">
                <a16:creationId xmlns:a16="http://schemas.microsoft.com/office/drawing/2014/main" id="{C333F920-D1E5-4994-9EBD-9A89C42CBE3E}"/>
              </a:ext>
            </a:extLst>
          </p:cNvPr>
          <p:cNvGrpSpPr/>
          <p:nvPr userDrawn="1"/>
        </p:nvGrpSpPr>
        <p:grpSpPr>
          <a:xfrm>
            <a:off x="6279927" y="124978"/>
            <a:ext cx="5742276" cy="451023"/>
            <a:chOff x="6353729" y="329946"/>
            <a:chExt cx="5742276" cy="451023"/>
          </a:xfrm>
        </p:grpSpPr>
        <p:grpSp>
          <p:nvGrpSpPr>
            <p:cNvPr id="11" name="Skupina 10">
              <a:extLst>
                <a:ext uri="{FF2B5EF4-FFF2-40B4-BE49-F238E27FC236}">
                  <a16:creationId xmlns:a16="http://schemas.microsoft.com/office/drawing/2014/main" id="{7CF9DDBB-3FCE-4A6B-9324-5F5CE7374982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6" name="Grafický objekt 15">
                <a:extLst>
                  <a:ext uri="{FF2B5EF4-FFF2-40B4-BE49-F238E27FC236}">
                    <a16:creationId xmlns:a16="http://schemas.microsoft.com/office/drawing/2014/main" id="{55822CFA-D4E2-4051-A738-DC3855AFF04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7" name="Grafický objekt 16">
                <a:extLst>
                  <a:ext uri="{FF2B5EF4-FFF2-40B4-BE49-F238E27FC236}">
                    <a16:creationId xmlns:a16="http://schemas.microsoft.com/office/drawing/2014/main" id="{3386CBD1-D029-4EDD-804C-74BF739420D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3" name="Obrázek 12" descr="Obsah obrázku kreslení&#10;&#10;Popis byl vytvořen automaticky">
              <a:extLst>
                <a:ext uri="{FF2B5EF4-FFF2-40B4-BE49-F238E27FC236}">
                  <a16:creationId xmlns:a16="http://schemas.microsoft.com/office/drawing/2014/main" id="{EBA595F3-4136-4431-A34D-3FE6EB82246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8392837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149465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56333780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399174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17782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858084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2429751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6244752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36693119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3386372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242069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02944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4401797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2480429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0761056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696397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387250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026680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20438075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5938134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417975049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0234389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483476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39303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31.05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7575714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913098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7060185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1469629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827961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3918540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744653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90448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6198025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2579364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699988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BA61EBA-4FFF-4673-9BA0-55E82F99259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66FDA1FA-15B4-46DB-8563-9D168899EC0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0E34FA4-860E-40B4-97AD-3CF9B2CE90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31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0DD889F8-1CC5-41C1-BAF5-5D6BD0F6F5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DA22AC9-06BD-4427-B62E-52F6A58CB1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4519092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8238757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4315265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0478461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59952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730E577-8B32-4569-AC3C-76D6F2F6BD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F410C648-E034-410B-B01B-87701C8351F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E05F7769-50EF-4D0F-97C4-6A5E9227B1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31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B6DB6D5-8367-4F80-AF41-87D069C803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DF10414-C935-472D-B8FC-16EBD0EE01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892388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8BCBB21-C0F1-4B2B-8A1C-15DD2EBAB7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A7818461-3C43-44FE-80B9-D048BFA8E5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107805A-C211-4BDC-8A7C-50C017CDC0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31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5CF91BA1-1C1F-4294-9B84-82D31143C1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B89D46F-E6FD-4433-AE57-F03CFCFF88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391055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6751BB3-54BB-497C-9D87-7331E63652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169F060A-A852-4CAC-8567-9FF26BE22C4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DA874AFF-9D96-448C-A700-2FC369C17CF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4FEB687C-F962-4BE7-8278-3C31FC255F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31.05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C8620F06-EBA0-40CC-9A9C-15001C536D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D0FDE4CA-77DD-417D-8C54-07ECB9628C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912582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0.xml"/><Relationship Id="rId10" Type="http://schemas.openxmlformats.org/officeDocument/2006/relationships/slideLayout" Target="../slideLayouts/slideLayout1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5" Type="http://schemas.openxmlformats.org/officeDocument/2006/relationships/slideLayout" Target="../slideLayouts/slideLayout21.xml"/><Relationship Id="rId4" Type="http://schemas.openxmlformats.org/officeDocument/2006/relationships/slideLayout" Target="../slideLayouts/slideLayout2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7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33.xml"/><Relationship Id="rId7" Type="http://schemas.openxmlformats.org/officeDocument/2006/relationships/theme" Target="../theme/theme5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5.xml"/><Relationship Id="rId4" Type="http://schemas.openxmlformats.org/officeDocument/2006/relationships/slideLayout" Target="../slideLayouts/slideLayout34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9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theme" Target="../theme/theme6.xml"/><Relationship Id="rId5" Type="http://schemas.openxmlformats.org/officeDocument/2006/relationships/slideLayout" Target="../slideLayouts/slideLayout41.xml"/><Relationship Id="rId4" Type="http://schemas.openxmlformats.org/officeDocument/2006/relationships/slideLayout" Target="../slideLayouts/slideLayout40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heme" Target="../theme/theme7.xml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5.xml"/><Relationship Id="rId9" Type="http://schemas.openxmlformats.org/officeDocument/2006/relationships/image" Target="../media/image4.png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1.xml"/><Relationship Id="rId7" Type="http://schemas.openxmlformats.org/officeDocument/2006/relationships/theme" Target="../theme/theme8.xml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5" Type="http://schemas.openxmlformats.org/officeDocument/2006/relationships/slideLayout" Target="../slideLayouts/slideLayout53.xml"/><Relationship Id="rId4" Type="http://schemas.openxmlformats.org/officeDocument/2006/relationships/slideLayout" Target="../slideLayouts/slideLayout52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57.xml"/><Relationship Id="rId7" Type="http://schemas.openxmlformats.org/officeDocument/2006/relationships/slideLayout" Target="../slideLayouts/slideLayout61.xml"/><Relationship Id="rId12" Type="http://schemas.openxmlformats.org/officeDocument/2006/relationships/image" Target="../media/image6.svg"/><Relationship Id="rId2" Type="http://schemas.openxmlformats.org/officeDocument/2006/relationships/slideLayout" Target="../slideLayouts/slideLayout56.x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image" Target="../media/image5.png"/><Relationship Id="rId5" Type="http://schemas.openxmlformats.org/officeDocument/2006/relationships/slideLayout" Target="../slideLayouts/slideLayout59.xml"/><Relationship Id="rId15" Type="http://schemas.openxmlformats.org/officeDocument/2006/relationships/image" Target="../media/image8.svg"/><Relationship Id="rId10" Type="http://schemas.openxmlformats.org/officeDocument/2006/relationships/theme" Target="../theme/theme9.xml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Relationship Id="rId14" Type="http://schemas.openxmlformats.org/officeDocument/2006/relationships/image" Target="../media/image6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31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485124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258AF7D2-4ED1-4129-9DE6-4BC40E78BA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84C08E0B-8703-4F4B-A221-FA41C8EDAF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93CDA1AE-D051-4265-B739-BBADD05EDA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058D0A-07E9-4A68-88A0-7C25FDBBE4AC}" type="datetimeFigureOut">
              <a:rPr lang="cs-CZ" smtClean="0"/>
              <a:t>31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BAA14082-EF73-46FC-8343-A2A3582777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72998947-0E69-43B5-8B05-739CE4C1B8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918253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  <p:sldLayoutId id="2147483712" r:id="rId7"/>
    <p:sldLayoutId id="2147483713" r:id="rId8"/>
    <p:sldLayoutId id="2147483714" r:id="rId9"/>
    <p:sldLayoutId id="2147483715" r:id="rId10"/>
    <p:sldLayoutId id="2147483716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4284987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  <p:sldLayoutId id="2147483744" r:id="rId4"/>
    <p:sldLayoutId id="2147483745" r:id="rId5"/>
    <p:sldLayoutId id="2147483746" r:id="rId6"/>
    <p:sldLayoutId id="2147483749" r:id="rId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BE882FD9-D878-4FCD-9C72-C60BD3C7D753}"/>
              </a:ext>
            </a:extLst>
          </p:cNvPr>
          <p:cNvSpPr/>
          <p:nvPr userDrawn="1"/>
        </p:nvSpPr>
        <p:spPr>
          <a:xfrm>
            <a:off x="1" y="1"/>
            <a:ext cx="12192000" cy="681036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dirty="0">
              <a:solidFill>
                <a:schemeClr val="bg1"/>
              </a:solidFill>
              <a:latin typeface="Arial (Základní text)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34614337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7" r:id="rId1"/>
    <p:sldLayoutId id="2147483778" r:id="rId2"/>
    <p:sldLayoutId id="2147483779" r:id="rId3"/>
    <p:sldLayoutId id="2147483780" r:id="rId4"/>
    <p:sldLayoutId id="2147483781" r:id="rId5"/>
    <p:sldLayoutId id="2147483782" r:id="rId6"/>
    <p:sldLayoutId id="2147483785" r:id="rId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BE882FD9-D878-4FCD-9C72-C60BD3C7D753}"/>
              </a:ext>
            </a:extLst>
          </p:cNvPr>
          <p:cNvSpPr/>
          <p:nvPr userDrawn="1"/>
        </p:nvSpPr>
        <p:spPr>
          <a:xfrm>
            <a:off x="1" y="1"/>
            <a:ext cx="12192000" cy="681036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dirty="0">
              <a:solidFill>
                <a:schemeClr val="bg1"/>
              </a:solidFill>
              <a:latin typeface="Arial (Základní text)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77A8944-7C67-401C-A076-2F9A4BFDBF1A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2" name="Grafický objekt 11">
              <a:extLst>
                <a:ext uri="{FF2B5EF4-FFF2-40B4-BE49-F238E27FC236}">
                  <a16:creationId xmlns:a16="http://schemas.microsoft.com/office/drawing/2014/main" id="{85265334-1A97-4E03-A335-0EFFE9BA915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3" name="Obrázek 12" descr="Obsah obrázku kreslení&#10;&#10;Popis byl vytvořen automaticky">
              <a:extLst>
                <a:ext uri="{FF2B5EF4-FFF2-40B4-BE49-F238E27FC236}">
                  <a16:creationId xmlns:a16="http://schemas.microsoft.com/office/drawing/2014/main" id="{F366B753-F05F-414A-91C1-96175A86F10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1E3E26BE-213E-4D1E-96AC-DD921E82501F}"/>
              </a:ext>
            </a:extLst>
          </p:cNvPr>
          <p:cNvPicPr>
            <a:picLocks noChangeAspect="1"/>
          </p:cNvPicPr>
          <p:nvPr userDrawn="1"/>
        </p:nvPicPr>
        <p:blipFill>
          <a:blip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89733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3" r:id="rId1"/>
    <p:sldLayoutId id="2147483794" r:id="rId2"/>
    <p:sldLayoutId id="2147483795" r:id="rId3"/>
    <p:sldLayoutId id="2147483796" r:id="rId4"/>
    <p:sldLayoutId id="2147483797" r:id="rId5"/>
    <p:sldLayoutId id="2147483798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31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199568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0" r:id="rId1"/>
    <p:sldLayoutId id="2147483811" r:id="rId2"/>
    <p:sldLayoutId id="2147483812" r:id="rId3"/>
    <p:sldLayoutId id="2147483813" r:id="rId4"/>
    <p:sldLayoutId id="2147483814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BE882FD9-D878-4FCD-9C72-C60BD3C7D753}"/>
              </a:ext>
            </a:extLst>
          </p:cNvPr>
          <p:cNvSpPr/>
          <p:nvPr userDrawn="1"/>
        </p:nvSpPr>
        <p:spPr>
          <a:xfrm>
            <a:off x="1" y="1"/>
            <a:ext cx="12192000" cy="681036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dirty="0">
              <a:solidFill>
                <a:schemeClr val="bg1"/>
              </a:solidFill>
              <a:latin typeface="Arial (Základní text)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77A8944-7C67-401C-A076-2F9A4BFDBF1A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2" name="Grafický objekt 11">
              <a:extLst>
                <a:ext uri="{FF2B5EF4-FFF2-40B4-BE49-F238E27FC236}">
                  <a16:creationId xmlns:a16="http://schemas.microsoft.com/office/drawing/2014/main" id="{85265334-1A97-4E03-A335-0EFFE9BA915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3" name="Obrázek 12" descr="Obsah obrázku kreslení&#10;&#10;Popis byl vytvořen automaticky">
              <a:extLst>
                <a:ext uri="{FF2B5EF4-FFF2-40B4-BE49-F238E27FC236}">
                  <a16:creationId xmlns:a16="http://schemas.microsoft.com/office/drawing/2014/main" id="{F366B753-F05F-414A-91C1-96175A86F10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1E3E26BE-213E-4D1E-96AC-DD921E82501F}"/>
              </a:ext>
            </a:extLst>
          </p:cNvPr>
          <p:cNvPicPr>
            <a:picLocks noChangeAspect="1"/>
          </p:cNvPicPr>
          <p:nvPr userDrawn="1"/>
        </p:nvPicPr>
        <p:blipFill>
          <a:blip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6027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6" r:id="rId1"/>
    <p:sldLayoutId id="2147483817" r:id="rId2"/>
    <p:sldLayoutId id="2147483818" r:id="rId3"/>
    <p:sldLayoutId id="2147483819" r:id="rId4"/>
    <p:sldLayoutId id="2147483820" r:id="rId5"/>
    <p:sldLayoutId id="2147483821" r:id="rId6"/>
    <p:sldLayoutId id="2147483824" r:id="rId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53190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6" r:id="rId1"/>
    <p:sldLayoutId id="2147483827" r:id="rId2"/>
    <p:sldLayoutId id="2147483828" r:id="rId3"/>
    <p:sldLayoutId id="2147483829" r:id="rId4"/>
    <p:sldLayoutId id="2147483830" r:id="rId5"/>
    <p:sldLayoutId id="2147483831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BE882FD9-D878-4FCD-9C72-C60BD3C7D753}"/>
              </a:ext>
            </a:extLst>
          </p:cNvPr>
          <p:cNvSpPr/>
          <p:nvPr userDrawn="1"/>
        </p:nvSpPr>
        <p:spPr>
          <a:xfrm>
            <a:off x="1" y="1"/>
            <a:ext cx="12192000" cy="681036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dirty="0">
              <a:solidFill>
                <a:schemeClr val="bg1"/>
              </a:solidFill>
              <a:latin typeface="Arial (Základní text)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77A8944-7C67-401C-A076-2F9A4BFDBF1A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2" name="Grafický objekt 11">
              <a:extLst>
                <a:ext uri="{FF2B5EF4-FFF2-40B4-BE49-F238E27FC236}">
                  <a16:creationId xmlns:a16="http://schemas.microsoft.com/office/drawing/2014/main" id="{85265334-1A97-4E03-A335-0EFFE9BA915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3" name="Obrázek 12" descr="Obsah obrázku kreslení&#10;&#10;Popis byl vytvořen automaticky">
              <a:extLst>
                <a:ext uri="{FF2B5EF4-FFF2-40B4-BE49-F238E27FC236}">
                  <a16:creationId xmlns:a16="http://schemas.microsoft.com/office/drawing/2014/main" id="{F366B753-F05F-414A-91C1-96175A86F10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1E3E26BE-213E-4D1E-96AC-DD921E82501F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84617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7" r:id="rId3"/>
    <p:sldLayoutId id="2147483868" r:id="rId4"/>
    <p:sldLayoutId id="2147483869" r:id="rId5"/>
    <p:sldLayoutId id="2147483870" r:id="rId6"/>
    <p:sldLayoutId id="2147483871" r:id="rId7"/>
    <p:sldLayoutId id="2147483872" r:id="rId8"/>
    <p:sldLayoutId id="2147483873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1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84.xml"/><Relationship Id="rId13" Type="http://schemas.openxmlformats.org/officeDocument/2006/relationships/tags" Target="../tags/tag89.xml"/><Relationship Id="rId18" Type="http://schemas.openxmlformats.org/officeDocument/2006/relationships/chart" Target="../charts/chart5.xml"/><Relationship Id="rId3" Type="http://schemas.openxmlformats.org/officeDocument/2006/relationships/tags" Target="../tags/tag79.xml"/><Relationship Id="rId7" Type="http://schemas.openxmlformats.org/officeDocument/2006/relationships/tags" Target="../tags/tag83.xml"/><Relationship Id="rId12" Type="http://schemas.openxmlformats.org/officeDocument/2006/relationships/tags" Target="../tags/tag88.xml"/><Relationship Id="rId17" Type="http://schemas.openxmlformats.org/officeDocument/2006/relationships/chart" Target="../charts/chart4.xml"/><Relationship Id="rId2" Type="http://schemas.openxmlformats.org/officeDocument/2006/relationships/tags" Target="../tags/tag78.xml"/><Relationship Id="rId16" Type="http://schemas.openxmlformats.org/officeDocument/2006/relationships/chart" Target="../charts/chart3.xml"/><Relationship Id="rId1" Type="http://schemas.openxmlformats.org/officeDocument/2006/relationships/tags" Target="../tags/tag77.xml"/><Relationship Id="rId6" Type="http://schemas.openxmlformats.org/officeDocument/2006/relationships/tags" Target="../tags/tag82.xml"/><Relationship Id="rId11" Type="http://schemas.openxmlformats.org/officeDocument/2006/relationships/tags" Target="../tags/tag87.xml"/><Relationship Id="rId5" Type="http://schemas.openxmlformats.org/officeDocument/2006/relationships/tags" Target="../tags/tag81.xml"/><Relationship Id="rId15" Type="http://schemas.openxmlformats.org/officeDocument/2006/relationships/slideLayout" Target="../slideLayouts/slideLayout21.xml"/><Relationship Id="rId10" Type="http://schemas.openxmlformats.org/officeDocument/2006/relationships/tags" Target="../tags/tag86.xml"/><Relationship Id="rId4" Type="http://schemas.openxmlformats.org/officeDocument/2006/relationships/tags" Target="../tags/tag80.xml"/><Relationship Id="rId9" Type="http://schemas.openxmlformats.org/officeDocument/2006/relationships/tags" Target="../tags/tag85.xml"/><Relationship Id="rId14" Type="http://schemas.openxmlformats.org/officeDocument/2006/relationships/tags" Target="../tags/tag9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93.xml"/><Relationship Id="rId2" Type="http://schemas.openxmlformats.org/officeDocument/2006/relationships/tags" Target="../tags/tag92.xml"/><Relationship Id="rId1" Type="http://schemas.openxmlformats.org/officeDocument/2006/relationships/tags" Target="../tags/tag91.xml"/><Relationship Id="rId6" Type="http://schemas.openxmlformats.org/officeDocument/2006/relationships/chart" Target="../charts/chart6.xml"/><Relationship Id="rId5" Type="http://schemas.openxmlformats.org/officeDocument/2006/relationships/slideLayout" Target="../slideLayouts/slideLayout30.xml"/><Relationship Id="rId4" Type="http://schemas.openxmlformats.org/officeDocument/2006/relationships/tags" Target="../tags/tag94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102.xml"/><Relationship Id="rId13" Type="http://schemas.openxmlformats.org/officeDocument/2006/relationships/slideLayout" Target="../slideLayouts/slideLayout30.xml"/><Relationship Id="rId3" Type="http://schemas.openxmlformats.org/officeDocument/2006/relationships/tags" Target="../tags/tag97.xml"/><Relationship Id="rId7" Type="http://schemas.openxmlformats.org/officeDocument/2006/relationships/tags" Target="../tags/tag101.xml"/><Relationship Id="rId12" Type="http://schemas.openxmlformats.org/officeDocument/2006/relationships/tags" Target="../tags/tag106.xml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tags" Target="../tags/tag100.xml"/><Relationship Id="rId11" Type="http://schemas.openxmlformats.org/officeDocument/2006/relationships/tags" Target="../tags/tag105.xml"/><Relationship Id="rId5" Type="http://schemas.openxmlformats.org/officeDocument/2006/relationships/tags" Target="../tags/tag99.xml"/><Relationship Id="rId15" Type="http://schemas.openxmlformats.org/officeDocument/2006/relationships/chart" Target="../charts/chart8.xml"/><Relationship Id="rId10" Type="http://schemas.openxmlformats.org/officeDocument/2006/relationships/tags" Target="../tags/tag104.xml"/><Relationship Id="rId4" Type="http://schemas.openxmlformats.org/officeDocument/2006/relationships/tags" Target="../tags/tag98.xml"/><Relationship Id="rId9" Type="http://schemas.openxmlformats.org/officeDocument/2006/relationships/tags" Target="../tags/tag103.xml"/><Relationship Id="rId14" Type="http://schemas.openxmlformats.org/officeDocument/2006/relationships/chart" Target="../charts/chart7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114.xml"/><Relationship Id="rId13" Type="http://schemas.openxmlformats.org/officeDocument/2006/relationships/tags" Target="../tags/tag119.xml"/><Relationship Id="rId3" Type="http://schemas.openxmlformats.org/officeDocument/2006/relationships/tags" Target="../tags/tag109.xml"/><Relationship Id="rId7" Type="http://schemas.openxmlformats.org/officeDocument/2006/relationships/tags" Target="../tags/tag113.xml"/><Relationship Id="rId12" Type="http://schemas.openxmlformats.org/officeDocument/2006/relationships/tags" Target="../tags/tag118.xml"/><Relationship Id="rId2" Type="http://schemas.openxmlformats.org/officeDocument/2006/relationships/tags" Target="../tags/tag108.xml"/><Relationship Id="rId16" Type="http://schemas.openxmlformats.org/officeDocument/2006/relationships/chart" Target="../charts/chart10.xml"/><Relationship Id="rId1" Type="http://schemas.openxmlformats.org/officeDocument/2006/relationships/tags" Target="../tags/tag107.xml"/><Relationship Id="rId6" Type="http://schemas.openxmlformats.org/officeDocument/2006/relationships/tags" Target="../tags/tag112.xml"/><Relationship Id="rId11" Type="http://schemas.openxmlformats.org/officeDocument/2006/relationships/tags" Target="../tags/tag117.xml"/><Relationship Id="rId5" Type="http://schemas.openxmlformats.org/officeDocument/2006/relationships/tags" Target="../tags/tag111.xml"/><Relationship Id="rId15" Type="http://schemas.openxmlformats.org/officeDocument/2006/relationships/chart" Target="../charts/chart9.xml"/><Relationship Id="rId10" Type="http://schemas.openxmlformats.org/officeDocument/2006/relationships/tags" Target="../tags/tag116.xml"/><Relationship Id="rId4" Type="http://schemas.openxmlformats.org/officeDocument/2006/relationships/tags" Target="../tags/tag110.xml"/><Relationship Id="rId9" Type="http://schemas.openxmlformats.org/officeDocument/2006/relationships/tags" Target="../tags/tag115.xml"/><Relationship Id="rId14" Type="http://schemas.openxmlformats.org/officeDocument/2006/relationships/slideLayout" Target="../slideLayouts/slideLayout30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127.xml"/><Relationship Id="rId13" Type="http://schemas.openxmlformats.org/officeDocument/2006/relationships/tags" Target="../tags/tag132.xml"/><Relationship Id="rId3" Type="http://schemas.openxmlformats.org/officeDocument/2006/relationships/tags" Target="../tags/tag122.xml"/><Relationship Id="rId7" Type="http://schemas.openxmlformats.org/officeDocument/2006/relationships/tags" Target="../tags/tag126.xml"/><Relationship Id="rId12" Type="http://schemas.openxmlformats.org/officeDocument/2006/relationships/tags" Target="../tags/tag131.xml"/><Relationship Id="rId2" Type="http://schemas.openxmlformats.org/officeDocument/2006/relationships/tags" Target="../tags/tag121.xml"/><Relationship Id="rId16" Type="http://schemas.openxmlformats.org/officeDocument/2006/relationships/chart" Target="../charts/chart12.xml"/><Relationship Id="rId1" Type="http://schemas.openxmlformats.org/officeDocument/2006/relationships/tags" Target="../tags/tag120.xml"/><Relationship Id="rId6" Type="http://schemas.openxmlformats.org/officeDocument/2006/relationships/tags" Target="../tags/tag125.xml"/><Relationship Id="rId11" Type="http://schemas.openxmlformats.org/officeDocument/2006/relationships/tags" Target="../tags/tag130.xml"/><Relationship Id="rId5" Type="http://schemas.openxmlformats.org/officeDocument/2006/relationships/tags" Target="../tags/tag124.xml"/><Relationship Id="rId15" Type="http://schemas.openxmlformats.org/officeDocument/2006/relationships/chart" Target="../charts/chart11.xml"/><Relationship Id="rId10" Type="http://schemas.openxmlformats.org/officeDocument/2006/relationships/tags" Target="../tags/tag129.xml"/><Relationship Id="rId4" Type="http://schemas.openxmlformats.org/officeDocument/2006/relationships/tags" Target="../tags/tag123.xml"/><Relationship Id="rId9" Type="http://schemas.openxmlformats.org/officeDocument/2006/relationships/tags" Target="../tags/tag128.xml"/><Relationship Id="rId14" Type="http://schemas.openxmlformats.org/officeDocument/2006/relationships/slideLayout" Target="../slideLayouts/slideLayout30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tags" Target="../tags/tag135.xml"/><Relationship Id="rId7" Type="http://schemas.openxmlformats.org/officeDocument/2006/relationships/tags" Target="../tags/tag139.xml"/><Relationship Id="rId2" Type="http://schemas.openxmlformats.org/officeDocument/2006/relationships/tags" Target="../tags/tag134.xml"/><Relationship Id="rId1" Type="http://schemas.openxmlformats.org/officeDocument/2006/relationships/tags" Target="../tags/tag133.xml"/><Relationship Id="rId6" Type="http://schemas.openxmlformats.org/officeDocument/2006/relationships/tags" Target="../tags/tag138.xml"/><Relationship Id="rId11" Type="http://schemas.openxmlformats.org/officeDocument/2006/relationships/chart" Target="../charts/chart15.xml"/><Relationship Id="rId5" Type="http://schemas.openxmlformats.org/officeDocument/2006/relationships/tags" Target="../tags/tag137.xml"/><Relationship Id="rId10" Type="http://schemas.openxmlformats.org/officeDocument/2006/relationships/chart" Target="../charts/chart14.xml"/><Relationship Id="rId4" Type="http://schemas.openxmlformats.org/officeDocument/2006/relationships/tags" Target="../tags/tag136.xml"/><Relationship Id="rId9" Type="http://schemas.openxmlformats.org/officeDocument/2006/relationships/chart" Target="../charts/chart13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tags" Target="../tags/tag142.xml"/><Relationship Id="rId7" Type="http://schemas.openxmlformats.org/officeDocument/2006/relationships/tags" Target="../tags/tag146.xml"/><Relationship Id="rId2" Type="http://schemas.openxmlformats.org/officeDocument/2006/relationships/tags" Target="../tags/tag141.xml"/><Relationship Id="rId1" Type="http://schemas.openxmlformats.org/officeDocument/2006/relationships/tags" Target="../tags/tag140.xml"/><Relationship Id="rId6" Type="http://schemas.openxmlformats.org/officeDocument/2006/relationships/tags" Target="../tags/tag145.xml"/><Relationship Id="rId11" Type="http://schemas.openxmlformats.org/officeDocument/2006/relationships/chart" Target="../charts/chart18.xml"/><Relationship Id="rId5" Type="http://schemas.openxmlformats.org/officeDocument/2006/relationships/tags" Target="../tags/tag144.xml"/><Relationship Id="rId10" Type="http://schemas.openxmlformats.org/officeDocument/2006/relationships/chart" Target="../charts/chart17.xml"/><Relationship Id="rId4" Type="http://schemas.openxmlformats.org/officeDocument/2006/relationships/tags" Target="../tags/tag143.xml"/><Relationship Id="rId9" Type="http://schemas.openxmlformats.org/officeDocument/2006/relationships/chart" Target="../charts/chart1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154.xml"/><Relationship Id="rId3" Type="http://schemas.openxmlformats.org/officeDocument/2006/relationships/tags" Target="../tags/tag149.xml"/><Relationship Id="rId7" Type="http://schemas.openxmlformats.org/officeDocument/2006/relationships/tags" Target="../tags/tag153.xml"/><Relationship Id="rId12" Type="http://schemas.openxmlformats.org/officeDocument/2006/relationships/image" Target="../media/image29.png"/><Relationship Id="rId2" Type="http://schemas.openxmlformats.org/officeDocument/2006/relationships/tags" Target="../tags/tag148.xml"/><Relationship Id="rId1" Type="http://schemas.openxmlformats.org/officeDocument/2006/relationships/tags" Target="../tags/tag147.xml"/><Relationship Id="rId6" Type="http://schemas.openxmlformats.org/officeDocument/2006/relationships/tags" Target="../tags/tag152.xml"/><Relationship Id="rId11" Type="http://schemas.openxmlformats.org/officeDocument/2006/relationships/slideLayout" Target="../slideLayouts/slideLayout30.xml"/><Relationship Id="rId5" Type="http://schemas.openxmlformats.org/officeDocument/2006/relationships/tags" Target="../tags/tag151.xml"/><Relationship Id="rId10" Type="http://schemas.openxmlformats.org/officeDocument/2006/relationships/tags" Target="../tags/tag156.xml"/><Relationship Id="rId4" Type="http://schemas.openxmlformats.org/officeDocument/2006/relationships/tags" Target="../tags/tag150.xml"/><Relationship Id="rId9" Type="http://schemas.openxmlformats.org/officeDocument/2006/relationships/tags" Target="../tags/tag155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.xml"/><Relationship Id="rId2" Type="http://schemas.openxmlformats.org/officeDocument/2006/relationships/slideLayout" Target="../slideLayouts/slideLayout53.xml"/><Relationship Id="rId1" Type="http://schemas.openxmlformats.org/officeDocument/2006/relationships/tags" Target="../tags/tag15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59.xml"/><Relationship Id="rId1" Type="http://schemas.openxmlformats.org/officeDocument/2006/relationships/tags" Target="../tags/tag158.xml"/><Relationship Id="rId5" Type="http://schemas.openxmlformats.org/officeDocument/2006/relationships/chart" Target="../charts/chart20.xml"/><Relationship Id="rId4" Type="http://schemas.openxmlformats.org/officeDocument/2006/relationships/notesSlide" Target="../notesSlides/notesSlide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61.xml"/><Relationship Id="rId1" Type="http://schemas.openxmlformats.org/officeDocument/2006/relationships/tags" Target="../tags/tag160.xml"/><Relationship Id="rId5" Type="http://schemas.openxmlformats.org/officeDocument/2006/relationships/chart" Target="../charts/chart21.xml"/><Relationship Id="rId4" Type="http://schemas.openxmlformats.org/officeDocument/2006/relationships/notesSlide" Target="../notesSlides/notesSlide6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7.xml"/><Relationship Id="rId3" Type="http://schemas.openxmlformats.org/officeDocument/2006/relationships/tags" Target="../tags/tag164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163.xml"/><Relationship Id="rId1" Type="http://schemas.openxmlformats.org/officeDocument/2006/relationships/tags" Target="../tags/tag162.xml"/><Relationship Id="rId6" Type="http://schemas.openxmlformats.org/officeDocument/2006/relationships/tags" Target="../tags/tag167.xml"/><Relationship Id="rId5" Type="http://schemas.openxmlformats.org/officeDocument/2006/relationships/tags" Target="../tags/tag166.xml"/><Relationship Id="rId4" Type="http://schemas.openxmlformats.org/officeDocument/2006/relationships/tags" Target="../tags/tag165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170.xml"/><Relationship Id="rId7" Type="http://schemas.openxmlformats.org/officeDocument/2006/relationships/chart" Target="../charts/chart22.xml"/><Relationship Id="rId2" Type="http://schemas.openxmlformats.org/officeDocument/2006/relationships/tags" Target="../tags/tag169.xml"/><Relationship Id="rId1" Type="http://schemas.openxmlformats.org/officeDocument/2006/relationships/tags" Target="../tags/tag168.xml"/><Relationship Id="rId6" Type="http://schemas.openxmlformats.org/officeDocument/2006/relationships/notesSlide" Target="../notesSlides/notesSlide8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17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5.xml"/><Relationship Id="rId7" Type="http://schemas.openxmlformats.org/officeDocument/2006/relationships/notesSlide" Target="../notesSlides/notesSlide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7.xml"/><Relationship Id="rId4" Type="http://schemas.openxmlformats.org/officeDocument/2006/relationships/tags" Target="../tags/tag6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tags" Target="../tags/tag174.xml"/><Relationship Id="rId7" Type="http://schemas.openxmlformats.org/officeDocument/2006/relationships/chart" Target="../charts/chart23.xml"/><Relationship Id="rId2" Type="http://schemas.openxmlformats.org/officeDocument/2006/relationships/tags" Target="../tags/tag173.xml"/><Relationship Id="rId1" Type="http://schemas.openxmlformats.org/officeDocument/2006/relationships/tags" Target="../tags/tag172.xml"/><Relationship Id="rId6" Type="http://schemas.openxmlformats.org/officeDocument/2006/relationships/notesSlide" Target="../notesSlides/notesSlide9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175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176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tags" Target="../tags/tag184.xml"/><Relationship Id="rId13" Type="http://schemas.openxmlformats.org/officeDocument/2006/relationships/slideLayout" Target="../slideLayouts/slideLayout59.xml"/><Relationship Id="rId3" Type="http://schemas.openxmlformats.org/officeDocument/2006/relationships/tags" Target="../tags/tag179.xml"/><Relationship Id="rId7" Type="http://schemas.openxmlformats.org/officeDocument/2006/relationships/tags" Target="../tags/tag183.xml"/><Relationship Id="rId12" Type="http://schemas.openxmlformats.org/officeDocument/2006/relationships/tags" Target="../tags/tag188.xml"/><Relationship Id="rId2" Type="http://schemas.openxmlformats.org/officeDocument/2006/relationships/tags" Target="../tags/tag178.xml"/><Relationship Id="rId1" Type="http://schemas.openxmlformats.org/officeDocument/2006/relationships/tags" Target="../tags/tag177.xml"/><Relationship Id="rId6" Type="http://schemas.openxmlformats.org/officeDocument/2006/relationships/tags" Target="../tags/tag182.xml"/><Relationship Id="rId11" Type="http://schemas.openxmlformats.org/officeDocument/2006/relationships/tags" Target="../tags/tag187.xml"/><Relationship Id="rId5" Type="http://schemas.openxmlformats.org/officeDocument/2006/relationships/tags" Target="../tags/tag181.xml"/><Relationship Id="rId10" Type="http://schemas.openxmlformats.org/officeDocument/2006/relationships/tags" Target="../tags/tag186.xml"/><Relationship Id="rId4" Type="http://schemas.openxmlformats.org/officeDocument/2006/relationships/tags" Target="../tags/tag180.xml"/><Relationship Id="rId9" Type="http://schemas.openxmlformats.org/officeDocument/2006/relationships/tags" Target="../tags/tag185.xml"/><Relationship Id="rId14" Type="http://schemas.openxmlformats.org/officeDocument/2006/relationships/notesSlide" Target="../notesSlides/notesSlide10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9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59.xml"/><Relationship Id="rId1" Type="http://schemas.openxmlformats.org/officeDocument/2006/relationships/tags" Target="../tags/tag189.xml"/><Relationship Id="rId4" Type="http://schemas.openxmlformats.org/officeDocument/2006/relationships/chart" Target="../charts/chart25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8.xml"/><Relationship Id="rId1" Type="http://schemas.openxmlformats.org/officeDocument/2006/relationships/tags" Target="../tags/tag190.xml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tags" Target="../tags/tag198.xml"/><Relationship Id="rId3" Type="http://schemas.openxmlformats.org/officeDocument/2006/relationships/tags" Target="../tags/tag193.xml"/><Relationship Id="rId7" Type="http://schemas.openxmlformats.org/officeDocument/2006/relationships/tags" Target="../tags/tag197.xml"/><Relationship Id="rId2" Type="http://schemas.openxmlformats.org/officeDocument/2006/relationships/tags" Target="../tags/tag192.xml"/><Relationship Id="rId1" Type="http://schemas.openxmlformats.org/officeDocument/2006/relationships/tags" Target="../tags/tag191.xml"/><Relationship Id="rId6" Type="http://schemas.openxmlformats.org/officeDocument/2006/relationships/tags" Target="../tags/tag196.xml"/><Relationship Id="rId11" Type="http://schemas.openxmlformats.org/officeDocument/2006/relationships/chart" Target="../charts/chart26.xml"/><Relationship Id="rId5" Type="http://schemas.openxmlformats.org/officeDocument/2006/relationships/tags" Target="../tags/tag195.xml"/><Relationship Id="rId10" Type="http://schemas.openxmlformats.org/officeDocument/2006/relationships/notesSlide" Target="../notesSlides/notesSlide13.xml"/><Relationship Id="rId4" Type="http://schemas.openxmlformats.org/officeDocument/2006/relationships/tags" Target="../tags/tag194.xml"/><Relationship Id="rId9" Type="http://schemas.openxmlformats.org/officeDocument/2006/relationships/slideLayout" Target="../slideLayouts/slideLayout46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99.xml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tags" Target="../tags/tag207.xml"/><Relationship Id="rId13" Type="http://schemas.openxmlformats.org/officeDocument/2006/relationships/notesSlide" Target="../notesSlides/notesSlide14.xml"/><Relationship Id="rId3" Type="http://schemas.openxmlformats.org/officeDocument/2006/relationships/tags" Target="../tags/tag202.xml"/><Relationship Id="rId7" Type="http://schemas.openxmlformats.org/officeDocument/2006/relationships/tags" Target="../tags/tag206.xml"/><Relationship Id="rId12" Type="http://schemas.openxmlformats.org/officeDocument/2006/relationships/slideLayout" Target="../slideLayouts/slideLayout35.xml"/><Relationship Id="rId2" Type="http://schemas.openxmlformats.org/officeDocument/2006/relationships/tags" Target="../tags/tag201.xml"/><Relationship Id="rId1" Type="http://schemas.openxmlformats.org/officeDocument/2006/relationships/tags" Target="../tags/tag200.xml"/><Relationship Id="rId6" Type="http://schemas.openxmlformats.org/officeDocument/2006/relationships/tags" Target="../tags/tag205.xml"/><Relationship Id="rId11" Type="http://schemas.openxmlformats.org/officeDocument/2006/relationships/tags" Target="../tags/tag210.xml"/><Relationship Id="rId5" Type="http://schemas.openxmlformats.org/officeDocument/2006/relationships/tags" Target="../tags/tag204.xml"/><Relationship Id="rId10" Type="http://schemas.openxmlformats.org/officeDocument/2006/relationships/tags" Target="../tags/tag209.xml"/><Relationship Id="rId4" Type="http://schemas.openxmlformats.org/officeDocument/2006/relationships/tags" Target="../tags/tag203.xml"/><Relationship Id="rId9" Type="http://schemas.openxmlformats.org/officeDocument/2006/relationships/tags" Target="../tags/tag208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tags" Target="../tags/tag218.xml"/><Relationship Id="rId13" Type="http://schemas.openxmlformats.org/officeDocument/2006/relationships/tags" Target="../tags/tag223.xml"/><Relationship Id="rId3" Type="http://schemas.openxmlformats.org/officeDocument/2006/relationships/tags" Target="../tags/tag213.xml"/><Relationship Id="rId7" Type="http://schemas.openxmlformats.org/officeDocument/2006/relationships/tags" Target="../tags/tag217.xml"/><Relationship Id="rId12" Type="http://schemas.openxmlformats.org/officeDocument/2006/relationships/tags" Target="../tags/tag222.xml"/><Relationship Id="rId2" Type="http://schemas.openxmlformats.org/officeDocument/2006/relationships/tags" Target="../tags/tag212.xml"/><Relationship Id="rId1" Type="http://schemas.openxmlformats.org/officeDocument/2006/relationships/tags" Target="../tags/tag211.xml"/><Relationship Id="rId6" Type="http://schemas.openxmlformats.org/officeDocument/2006/relationships/tags" Target="../tags/tag216.xml"/><Relationship Id="rId11" Type="http://schemas.openxmlformats.org/officeDocument/2006/relationships/tags" Target="../tags/tag221.xml"/><Relationship Id="rId5" Type="http://schemas.openxmlformats.org/officeDocument/2006/relationships/tags" Target="../tags/tag215.xml"/><Relationship Id="rId15" Type="http://schemas.openxmlformats.org/officeDocument/2006/relationships/notesSlide" Target="../notesSlides/notesSlide15.xml"/><Relationship Id="rId10" Type="http://schemas.openxmlformats.org/officeDocument/2006/relationships/tags" Target="../tags/tag220.xml"/><Relationship Id="rId4" Type="http://schemas.openxmlformats.org/officeDocument/2006/relationships/tags" Target="../tags/tag214.xml"/><Relationship Id="rId9" Type="http://schemas.openxmlformats.org/officeDocument/2006/relationships/tags" Target="../tags/tag219.xml"/><Relationship Id="rId14" Type="http://schemas.openxmlformats.org/officeDocument/2006/relationships/slideLayout" Target="../slideLayouts/slideLayout3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4" Type="http://schemas.openxmlformats.org/officeDocument/2006/relationships/chart" Target="../charts/chart2.xml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tags" Target="../tags/tag231.xml"/><Relationship Id="rId13" Type="http://schemas.openxmlformats.org/officeDocument/2006/relationships/slideLayout" Target="../slideLayouts/slideLayout35.xml"/><Relationship Id="rId3" Type="http://schemas.openxmlformats.org/officeDocument/2006/relationships/tags" Target="../tags/tag226.xml"/><Relationship Id="rId7" Type="http://schemas.openxmlformats.org/officeDocument/2006/relationships/tags" Target="../tags/tag230.xml"/><Relationship Id="rId12" Type="http://schemas.openxmlformats.org/officeDocument/2006/relationships/tags" Target="../tags/tag235.xml"/><Relationship Id="rId2" Type="http://schemas.openxmlformats.org/officeDocument/2006/relationships/tags" Target="../tags/tag225.xml"/><Relationship Id="rId1" Type="http://schemas.openxmlformats.org/officeDocument/2006/relationships/tags" Target="../tags/tag224.xml"/><Relationship Id="rId6" Type="http://schemas.openxmlformats.org/officeDocument/2006/relationships/tags" Target="../tags/tag229.xml"/><Relationship Id="rId11" Type="http://schemas.openxmlformats.org/officeDocument/2006/relationships/tags" Target="../tags/tag234.xml"/><Relationship Id="rId5" Type="http://schemas.openxmlformats.org/officeDocument/2006/relationships/tags" Target="../tags/tag228.xml"/><Relationship Id="rId10" Type="http://schemas.openxmlformats.org/officeDocument/2006/relationships/tags" Target="../tags/tag233.xml"/><Relationship Id="rId4" Type="http://schemas.openxmlformats.org/officeDocument/2006/relationships/tags" Target="../tags/tag227.xml"/><Relationship Id="rId9" Type="http://schemas.openxmlformats.org/officeDocument/2006/relationships/tags" Target="../tags/tag232.xml"/><Relationship Id="rId14" Type="http://schemas.openxmlformats.org/officeDocument/2006/relationships/chart" Target="../charts/chart27.xml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3" Type="http://schemas.openxmlformats.org/officeDocument/2006/relationships/tags" Target="../tags/tag238.xml"/><Relationship Id="rId7" Type="http://schemas.openxmlformats.org/officeDocument/2006/relationships/tags" Target="../tags/tag242.xml"/><Relationship Id="rId2" Type="http://schemas.openxmlformats.org/officeDocument/2006/relationships/tags" Target="../tags/tag237.xml"/><Relationship Id="rId1" Type="http://schemas.openxmlformats.org/officeDocument/2006/relationships/tags" Target="../tags/tag236.xml"/><Relationship Id="rId6" Type="http://schemas.openxmlformats.org/officeDocument/2006/relationships/tags" Target="../tags/tag241.xml"/><Relationship Id="rId11" Type="http://schemas.openxmlformats.org/officeDocument/2006/relationships/chart" Target="../charts/chart29.xml"/><Relationship Id="rId5" Type="http://schemas.openxmlformats.org/officeDocument/2006/relationships/tags" Target="../tags/tag240.xml"/><Relationship Id="rId10" Type="http://schemas.openxmlformats.org/officeDocument/2006/relationships/chart" Target="../charts/chart28.xml"/><Relationship Id="rId4" Type="http://schemas.openxmlformats.org/officeDocument/2006/relationships/tags" Target="../tags/tag239.xml"/><Relationship Id="rId9" Type="http://schemas.openxmlformats.org/officeDocument/2006/relationships/notesSlide" Target="../notesSlides/notesSlide16.xm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tags" Target="../tags/tag250.xml"/><Relationship Id="rId13" Type="http://schemas.openxmlformats.org/officeDocument/2006/relationships/tags" Target="../tags/tag255.xml"/><Relationship Id="rId18" Type="http://schemas.openxmlformats.org/officeDocument/2006/relationships/tags" Target="../tags/tag260.xml"/><Relationship Id="rId26" Type="http://schemas.openxmlformats.org/officeDocument/2006/relationships/chart" Target="../charts/chart31.xml"/><Relationship Id="rId3" Type="http://schemas.openxmlformats.org/officeDocument/2006/relationships/tags" Target="../tags/tag245.xml"/><Relationship Id="rId21" Type="http://schemas.openxmlformats.org/officeDocument/2006/relationships/tags" Target="../tags/tag263.xml"/><Relationship Id="rId7" Type="http://schemas.openxmlformats.org/officeDocument/2006/relationships/tags" Target="../tags/tag249.xml"/><Relationship Id="rId12" Type="http://schemas.openxmlformats.org/officeDocument/2006/relationships/tags" Target="../tags/tag254.xml"/><Relationship Id="rId17" Type="http://schemas.openxmlformats.org/officeDocument/2006/relationships/tags" Target="../tags/tag259.xml"/><Relationship Id="rId25" Type="http://schemas.openxmlformats.org/officeDocument/2006/relationships/chart" Target="../charts/chart30.xml"/><Relationship Id="rId2" Type="http://schemas.openxmlformats.org/officeDocument/2006/relationships/tags" Target="../tags/tag244.xml"/><Relationship Id="rId16" Type="http://schemas.openxmlformats.org/officeDocument/2006/relationships/tags" Target="../tags/tag258.xml"/><Relationship Id="rId20" Type="http://schemas.openxmlformats.org/officeDocument/2006/relationships/tags" Target="../tags/tag262.xml"/><Relationship Id="rId29" Type="http://schemas.openxmlformats.org/officeDocument/2006/relationships/chart" Target="../charts/chart34.xml"/><Relationship Id="rId1" Type="http://schemas.openxmlformats.org/officeDocument/2006/relationships/tags" Target="../tags/tag243.xml"/><Relationship Id="rId6" Type="http://schemas.openxmlformats.org/officeDocument/2006/relationships/tags" Target="../tags/tag248.xml"/><Relationship Id="rId11" Type="http://schemas.openxmlformats.org/officeDocument/2006/relationships/tags" Target="../tags/tag253.xml"/><Relationship Id="rId24" Type="http://schemas.openxmlformats.org/officeDocument/2006/relationships/notesSlide" Target="../notesSlides/notesSlide17.xml"/><Relationship Id="rId5" Type="http://schemas.openxmlformats.org/officeDocument/2006/relationships/tags" Target="../tags/tag247.xml"/><Relationship Id="rId15" Type="http://schemas.openxmlformats.org/officeDocument/2006/relationships/tags" Target="../tags/tag257.xml"/><Relationship Id="rId23" Type="http://schemas.openxmlformats.org/officeDocument/2006/relationships/slideLayout" Target="../slideLayouts/slideLayout35.xml"/><Relationship Id="rId28" Type="http://schemas.openxmlformats.org/officeDocument/2006/relationships/chart" Target="../charts/chart33.xml"/><Relationship Id="rId10" Type="http://schemas.openxmlformats.org/officeDocument/2006/relationships/tags" Target="../tags/tag252.xml"/><Relationship Id="rId19" Type="http://schemas.openxmlformats.org/officeDocument/2006/relationships/tags" Target="../tags/tag261.xml"/><Relationship Id="rId4" Type="http://schemas.openxmlformats.org/officeDocument/2006/relationships/tags" Target="../tags/tag246.xml"/><Relationship Id="rId9" Type="http://schemas.openxmlformats.org/officeDocument/2006/relationships/tags" Target="../tags/tag251.xml"/><Relationship Id="rId14" Type="http://schemas.openxmlformats.org/officeDocument/2006/relationships/tags" Target="../tags/tag256.xml"/><Relationship Id="rId22" Type="http://schemas.openxmlformats.org/officeDocument/2006/relationships/tags" Target="../tags/tag264.xml"/><Relationship Id="rId27" Type="http://schemas.openxmlformats.org/officeDocument/2006/relationships/chart" Target="../charts/chart32.xml"/><Relationship Id="rId30" Type="http://schemas.openxmlformats.org/officeDocument/2006/relationships/chart" Target="../charts/chart35.xml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tags" Target="../tags/tag272.xml"/><Relationship Id="rId13" Type="http://schemas.openxmlformats.org/officeDocument/2006/relationships/tags" Target="../tags/tag277.xml"/><Relationship Id="rId3" Type="http://schemas.openxmlformats.org/officeDocument/2006/relationships/tags" Target="../tags/tag267.xml"/><Relationship Id="rId7" Type="http://schemas.openxmlformats.org/officeDocument/2006/relationships/tags" Target="../tags/tag271.xml"/><Relationship Id="rId12" Type="http://schemas.openxmlformats.org/officeDocument/2006/relationships/tags" Target="../tags/tag276.xml"/><Relationship Id="rId2" Type="http://schemas.openxmlformats.org/officeDocument/2006/relationships/tags" Target="../tags/tag266.xml"/><Relationship Id="rId16" Type="http://schemas.openxmlformats.org/officeDocument/2006/relationships/chart" Target="../charts/chart37.xml"/><Relationship Id="rId1" Type="http://schemas.openxmlformats.org/officeDocument/2006/relationships/tags" Target="../tags/tag265.xml"/><Relationship Id="rId6" Type="http://schemas.openxmlformats.org/officeDocument/2006/relationships/tags" Target="../tags/tag270.xml"/><Relationship Id="rId11" Type="http://schemas.openxmlformats.org/officeDocument/2006/relationships/tags" Target="../tags/tag275.xml"/><Relationship Id="rId5" Type="http://schemas.openxmlformats.org/officeDocument/2006/relationships/tags" Target="../tags/tag269.xml"/><Relationship Id="rId15" Type="http://schemas.openxmlformats.org/officeDocument/2006/relationships/chart" Target="../charts/chart36.xml"/><Relationship Id="rId10" Type="http://schemas.openxmlformats.org/officeDocument/2006/relationships/tags" Target="../tags/tag274.xml"/><Relationship Id="rId4" Type="http://schemas.openxmlformats.org/officeDocument/2006/relationships/tags" Target="../tags/tag268.xml"/><Relationship Id="rId9" Type="http://schemas.openxmlformats.org/officeDocument/2006/relationships/tags" Target="../tags/tag273.xml"/><Relationship Id="rId14" Type="http://schemas.openxmlformats.org/officeDocument/2006/relationships/slideLayout" Target="../slideLayouts/slideLayout30.xml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tags" Target="../tags/tag285.xml"/><Relationship Id="rId13" Type="http://schemas.openxmlformats.org/officeDocument/2006/relationships/tags" Target="../tags/tag290.xml"/><Relationship Id="rId3" Type="http://schemas.openxmlformats.org/officeDocument/2006/relationships/tags" Target="../tags/tag280.xml"/><Relationship Id="rId7" Type="http://schemas.openxmlformats.org/officeDocument/2006/relationships/tags" Target="../tags/tag284.xml"/><Relationship Id="rId12" Type="http://schemas.openxmlformats.org/officeDocument/2006/relationships/tags" Target="../tags/tag289.xml"/><Relationship Id="rId2" Type="http://schemas.openxmlformats.org/officeDocument/2006/relationships/tags" Target="../tags/tag279.xml"/><Relationship Id="rId16" Type="http://schemas.openxmlformats.org/officeDocument/2006/relationships/chart" Target="../charts/chart39.xml"/><Relationship Id="rId1" Type="http://schemas.openxmlformats.org/officeDocument/2006/relationships/tags" Target="../tags/tag278.xml"/><Relationship Id="rId6" Type="http://schemas.openxmlformats.org/officeDocument/2006/relationships/tags" Target="../tags/tag283.xml"/><Relationship Id="rId11" Type="http://schemas.openxmlformats.org/officeDocument/2006/relationships/tags" Target="../tags/tag288.xml"/><Relationship Id="rId5" Type="http://schemas.openxmlformats.org/officeDocument/2006/relationships/tags" Target="../tags/tag282.xml"/><Relationship Id="rId15" Type="http://schemas.openxmlformats.org/officeDocument/2006/relationships/chart" Target="../charts/chart38.xml"/><Relationship Id="rId10" Type="http://schemas.openxmlformats.org/officeDocument/2006/relationships/tags" Target="../tags/tag287.xml"/><Relationship Id="rId4" Type="http://schemas.openxmlformats.org/officeDocument/2006/relationships/tags" Target="../tags/tag281.xml"/><Relationship Id="rId9" Type="http://schemas.openxmlformats.org/officeDocument/2006/relationships/tags" Target="../tags/tag286.xml"/><Relationship Id="rId14" Type="http://schemas.openxmlformats.org/officeDocument/2006/relationships/slideLayout" Target="../slideLayouts/slideLayout30.xml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tags" Target="../tags/tag298.xml"/><Relationship Id="rId13" Type="http://schemas.openxmlformats.org/officeDocument/2006/relationships/tags" Target="../tags/tag303.xml"/><Relationship Id="rId18" Type="http://schemas.openxmlformats.org/officeDocument/2006/relationships/chart" Target="../charts/chart40.xml"/><Relationship Id="rId3" Type="http://schemas.openxmlformats.org/officeDocument/2006/relationships/tags" Target="../tags/tag293.xml"/><Relationship Id="rId7" Type="http://schemas.openxmlformats.org/officeDocument/2006/relationships/tags" Target="../tags/tag297.xml"/><Relationship Id="rId12" Type="http://schemas.openxmlformats.org/officeDocument/2006/relationships/tags" Target="../tags/tag302.xml"/><Relationship Id="rId17" Type="http://schemas.openxmlformats.org/officeDocument/2006/relationships/slideLayout" Target="../slideLayouts/slideLayout30.xml"/><Relationship Id="rId2" Type="http://schemas.openxmlformats.org/officeDocument/2006/relationships/tags" Target="../tags/tag292.xml"/><Relationship Id="rId16" Type="http://schemas.openxmlformats.org/officeDocument/2006/relationships/tags" Target="../tags/tag306.xml"/><Relationship Id="rId1" Type="http://schemas.openxmlformats.org/officeDocument/2006/relationships/tags" Target="../tags/tag291.xml"/><Relationship Id="rId6" Type="http://schemas.openxmlformats.org/officeDocument/2006/relationships/tags" Target="../tags/tag296.xml"/><Relationship Id="rId11" Type="http://schemas.openxmlformats.org/officeDocument/2006/relationships/tags" Target="../tags/tag301.xml"/><Relationship Id="rId5" Type="http://schemas.openxmlformats.org/officeDocument/2006/relationships/tags" Target="../tags/tag295.xml"/><Relationship Id="rId15" Type="http://schemas.openxmlformats.org/officeDocument/2006/relationships/tags" Target="../tags/tag305.xml"/><Relationship Id="rId10" Type="http://schemas.openxmlformats.org/officeDocument/2006/relationships/tags" Target="../tags/tag300.xml"/><Relationship Id="rId19" Type="http://schemas.openxmlformats.org/officeDocument/2006/relationships/chart" Target="../charts/chart41.xml"/><Relationship Id="rId4" Type="http://schemas.openxmlformats.org/officeDocument/2006/relationships/tags" Target="../tags/tag294.xml"/><Relationship Id="rId9" Type="http://schemas.openxmlformats.org/officeDocument/2006/relationships/tags" Target="../tags/tag299.xml"/><Relationship Id="rId14" Type="http://schemas.openxmlformats.org/officeDocument/2006/relationships/tags" Target="../tags/tag304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18.xml"/><Relationship Id="rId13" Type="http://schemas.openxmlformats.org/officeDocument/2006/relationships/tags" Target="../tags/tag23.xml"/><Relationship Id="rId18" Type="http://schemas.openxmlformats.org/officeDocument/2006/relationships/tags" Target="../tags/tag28.xml"/><Relationship Id="rId26" Type="http://schemas.openxmlformats.org/officeDocument/2006/relationships/image" Target="../media/image17.png"/><Relationship Id="rId3" Type="http://schemas.openxmlformats.org/officeDocument/2006/relationships/tags" Target="../tags/tag13.xml"/><Relationship Id="rId21" Type="http://schemas.openxmlformats.org/officeDocument/2006/relationships/tags" Target="../tags/tag31.xml"/><Relationship Id="rId7" Type="http://schemas.openxmlformats.org/officeDocument/2006/relationships/tags" Target="../tags/tag17.xml"/><Relationship Id="rId12" Type="http://schemas.openxmlformats.org/officeDocument/2006/relationships/tags" Target="../tags/tag22.xml"/><Relationship Id="rId17" Type="http://schemas.openxmlformats.org/officeDocument/2006/relationships/tags" Target="../tags/tag27.xml"/><Relationship Id="rId25" Type="http://schemas.openxmlformats.org/officeDocument/2006/relationships/image" Target="../media/image16.png"/><Relationship Id="rId2" Type="http://schemas.openxmlformats.org/officeDocument/2006/relationships/tags" Target="../tags/tag12.xml"/><Relationship Id="rId16" Type="http://schemas.openxmlformats.org/officeDocument/2006/relationships/tags" Target="../tags/tag26.xml"/><Relationship Id="rId20" Type="http://schemas.openxmlformats.org/officeDocument/2006/relationships/tags" Target="../tags/tag30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11" Type="http://schemas.openxmlformats.org/officeDocument/2006/relationships/tags" Target="../tags/tag21.xml"/><Relationship Id="rId24" Type="http://schemas.openxmlformats.org/officeDocument/2006/relationships/image" Target="../media/image15.png"/><Relationship Id="rId5" Type="http://schemas.openxmlformats.org/officeDocument/2006/relationships/tags" Target="../tags/tag15.xml"/><Relationship Id="rId15" Type="http://schemas.openxmlformats.org/officeDocument/2006/relationships/tags" Target="../tags/tag25.xml"/><Relationship Id="rId23" Type="http://schemas.openxmlformats.org/officeDocument/2006/relationships/image" Target="../media/image14.png"/><Relationship Id="rId10" Type="http://schemas.openxmlformats.org/officeDocument/2006/relationships/tags" Target="../tags/tag20.xml"/><Relationship Id="rId19" Type="http://schemas.openxmlformats.org/officeDocument/2006/relationships/tags" Target="../tags/tag29.xml"/><Relationship Id="rId4" Type="http://schemas.openxmlformats.org/officeDocument/2006/relationships/tags" Target="../tags/tag14.xml"/><Relationship Id="rId9" Type="http://schemas.openxmlformats.org/officeDocument/2006/relationships/tags" Target="../tags/tag19.xml"/><Relationship Id="rId14" Type="http://schemas.openxmlformats.org/officeDocument/2006/relationships/tags" Target="../tags/tag24.xml"/><Relationship Id="rId22" Type="http://schemas.openxmlformats.org/officeDocument/2006/relationships/slideLayout" Target="../slideLayouts/slideLayout41.xml"/><Relationship Id="rId27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13" Type="http://schemas.openxmlformats.org/officeDocument/2006/relationships/tags" Target="../tags/tag44.xml"/><Relationship Id="rId18" Type="http://schemas.openxmlformats.org/officeDocument/2006/relationships/tags" Target="../tags/tag49.xml"/><Relationship Id="rId3" Type="http://schemas.openxmlformats.org/officeDocument/2006/relationships/tags" Target="../tags/tag34.xml"/><Relationship Id="rId21" Type="http://schemas.openxmlformats.org/officeDocument/2006/relationships/slideLayout" Target="../slideLayouts/slideLayout41.xml"/><Relationship Id="rId7" Type="http://schemas.openxmlformats.org/officeDocument/2006/relationships/tags" Target="../tags/tag38.xml"/><Relationship Id="rId12" Type="http://schemas.openxmlformats.org/officeDocument/2006/relationships/tags" Target="../tags/tag43.xml"/><Relationship Id="rId17" Type="http://schemas.openxmlformats.org/officeDocument/2006/relationships/tags" Target="../tags/tag48.xml"/><Relationship Id="rId25" Type="http://schemas.openxmlformats.org/officeDocument/2006/relationships/image" Target="../media/image22.png"/><Relationship Id="rId2" Type="http://schemas.openxmlformats.org/officeDocument/2006/relationships/tags" Target="../tags/tag33.xml"/><Relationship Id="rId16" Type="http://schemas.openxmlformats.org/officeDocument/2006/relationships/tags" Target="../tags/tag47.xml"/><Relationship Id="rId20" Type="http://schemas.openxmlformats.org/officeDocument/2006/relationships/tags" Target="../tags/tag51.xml"/><Relationship Id="rId1" Type="http://schemas.openxmlformats.org/officeDocument/2006/relationships/tags" Target="../tags/tag32.xml"/><Relationship Id="rId6" Type="http://schemas.openxmlformats.org/officeDocument/2006/relationships/tags" Target="../tags/tag37.xml"/><Relationship Id="rId11" Type="http://schemas.openxmlformats.org/officeDocument/2006/relationships/tags" Target="../tags/tag42.xml"/><Relationship Id="rId24" Type="http://schemas.openxmlformats.org/officeDocument/2006/relationships/image" Target="../media/image21.png"/><Relationship Id="rId5" Type="http://schemas.openxmlformats.org/officeDocument/2006/relationships/tags" Target="../tags/tag36.xml"/><Relationship Id="rId15" Type="http://schemas.openxmlformats.org/officeDocument/2006/relationships/tags" Target="../tags/tag46.xml"/><Relationship Id="rId23" Type="http://schemas.openxmlformats.org/officeDocument/2006/relationships/image" Target="../media/image20.png"/><Relationship Id="rId10" Type="http://schemas.openxmlformats.org/officeDocument/2006/relationships/tags" Target="../tags/tag41.xml"/><Relationship Id="rId19" Type="http://schemas.openxmlformats.org/officeDocument/2006/relationships/tags" Target="../tags/tag50.xml"/><Relationship Id="rId4" Type="http://schemas.openxmlformats.org/officeDocument/2006/relationships/tags" Target="../tags/tag35.xml"/><Relationship Id="rId9" Type="http://schemas.openxmlformats.org/officeDocument/2006/relationships/tags" Target="../tags/tag40.xml"/><Relationship Id="rId14" Type="http://schemas.openxmlformats.org/officeDocument/2006/relationships/tags" Target="../tags/tag45.xml"/><Relationship Id="rId22" Type="http://schemas.openxmlformats.org/officeDocument/2006/relationships/image" Target="../media/image19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59.xml"/><Relationship Id="rId13" Type="http://schemas.openxmlformats.org/officeDocument/2006/relationships/tags" Target="../tags/tag64.xml"/><Relationship Id="rId18" Type="http://schemas.openxmlformats.org/officeDocument/2006/relationships/tags" Target="../tags/tag69.xml"/><Relationship Id="rId26" Type="http://schemas.openxmlformats.org/officeDocument/2006/relationships/image" Target="../media/image25.png"/><Relationship Id="rId3" Type="http://schemas.openxmlformats.org/officeDocument/2006/relationships/tags" Target="../tags/tag54.xml"/><Relationship Id="rId21" Type="http://schemas.openxmlformats.org/officeDocument/2006/relationships/tags" Target="../tags/tag72.xml"/><Relationship Id="rId7" Type="http://schemas.openxmlformats.org/officeDocument/2006/relationships/tags" Target="../tags/tag58.xml"/><Relationship Id="rId12" Type="http://schemas.openxmlformats.org/officeDocument/2006/relationships/tags" Target="../tags/tag63.xml"/><Relationship Id="rId17" Type="http://schemas.openxmlformats.org/officeDocument/2006/relationships/tags" Target="../tags/tag68.xml"/><Relationship Id="rId25" Type="http://schemas.openxmlformats.org/officeDocument/2006/relationships/image" Target="../media/image24.png"/><Relationship Id="rId2" Type="http://schemas.openxmlformats.org/officeDocument/2006/relationships/tags" Target="../tags/tag53.xml"/><Relationship Id="rId16" Type="http://schemas.openxmlformats.org/officeDocument/2006/relationships/tags" Target="../tags/tag67.xml"/><Relationship Id="rId20" Type="http://schemas.openxmlformats.org/officeDocument/2006/relationships/tags" Target="../tags/tag71.xml"/><Relationship Id="rId1" Type="http://schemas.openxmlformats.org/officeDocument/2006/relationships/tags" Target="../tags/tag52.xml"/><Relationship Id="rId6" Type="http://schemas.openxmlformats.org/officeDocument/2006/relationships/tags" Target="../tags/tag57.xml"/><Relationship Id="rId11" Type="http://schemas.openxmlformats.org/officeDocument/2006/relationships/tags" Target="../tags/tag62.xml"/><Relationship Id="rId24" Type="http://schemas.openxmlformats.org/officeDocument/2006/relationships/image" Target="../media/image23.png"/><Relationship Id="rId5" Type="http://schemas.openxmlformats.org/officeDocument/2006/relationships/tags" Target="../tags/tag56.xml"/><Relationship Id="rId15" Type="http://schemas.openxmlformats.org/officeDocument/2006/relationships/tags" Target="../tags/tag66.xml"/><Relationship Id="rId23" Type="http://schemas.openxmlformats.org/officeDocument/2006/relationships/slideLayout" Target="../slideLayouts/slideLayout41.xml"/><Relationship Id="rId10" Type="http://schemas.openxmlformats.org/officeDocument/2006/relationships/tags" Target="../tags/tag61.xml"/><Relationship Id="rId19" Type="http://schemas.openxmlformats.org/officeDocument/2006/relationships/tags" Target="../tags/tag70.xml"/><Relationship Id="rId4" Type="http://schemas.openxmlformats.org/officeDocument/2006/relationships/tags" Target="../tags/tag55.xml"/><Relationship Id="rId9" Type="http://schemas.openxmlformats.org/officeDocument/2006/relationships/tags" Target="../tags/tag60.xml"/><Relationship Id="rId14" Type="http://schemas.openxmlformats.org/officeDocument/2006/relationships/tags" Target="../tags/tag65.xml"/><Relationship Id="rId22" Type="http://schemas.openxmlformats.org/officeDocument/2006/relationships/tags" Target="../tags/tag73.xml"/><Relationship Id="rId27" Type="http://schemas.openxmlformats.org/officeDocument/2006/relationships/image" Target="../media/image2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143346" y="3693109"/>
            <a:ext cx="11905307" cy="2317166"/>
          </a:xfrm>
        </p:spPr>
        <p:txBody>
          <a:bodyPr>
            <a:normAutofit/>
          </a:bodyPr>
          <a:lstStyle/>
          <a:p>
            <a:r>
              <a:rPr lang="cs-CZ" sz="4800" b="1" dirty="0"/>
              <a:t>Stav epidemie k </a:t>
            </a:r>
            <a:r>
              <a:rPr lang="cs-CZ" sz="4800" b="1" dirty="0" smtClean="0"/>
              <a:t>30. </a:t>
            </a:r>
            <a:r>
              <a:rPr lang="cs-CZ" sz="4800" b="1" dirty="0"/>
              <a:t>5. 2021</a:t>
            </a:r>
          </a:p>
          <a:p>
            <a:r>
              <a:rPr lang="cs-CZ" sz="4800" b="1" dirty="0"/>
              <a:t>– stručný přehled aktuálních dat</a:t>
            </a:r>
            <a:endParaRPr lang="cs-CZ" sz="4600" i="1" dirty="0"/>
          </a:p>
        </p:txBody>
      </p:sp>
    </p:spTree>
    <p:extLst>
      <p:ext uri="{BB962C8B-B14F-4D97-AF65-F5344CB8AC3E}">
        <p14:creationId xmlns:p14="http://schemas.microsoft.com/office/powerpoint/2010/main" val="110846197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7436164" cy="576000"/>
          </a:xfrm>
        </p:spPr>
        <p:txBody>
          <a:bodyPr/>
          <a:lstStyle/>
          <a:p>
            <a:r>
              <a:rPr lang="cs-CZ" dirty="0"/>
              <a:t>Zátěž regionů ve vzájemném srovnání </a:t>
            </a:r>
            <a:r>
              <a:rPr lang="pl-PL" dirty="0"/>
              <a:t>krajů k </a:t>
            </a:r>
            <a:r>
              <a:rPr lang="pl-PL" dirty="0" smtClean="0"/>
              <a:t>30</a:t>
            </a:r>
            <a:r>
              <a:rPr lang="cs-CZ" dirty="0" smtClean="0"/>
              <a:t>.5</a:t>
            </a:r>
            <a:r>
              <a:rPr lang="cs-CZ" dirty="0"/>
              <a:t>.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0A29EB09-17C8-452F-8EAF-45B003F09D46}"/>
              </a:ext>
            </a:extLst>
          </p:cNvPr>
          <p:cNvSpPr txBox="1"/>
          <p:nvPr/>
        </p:nvSpPr>
        <p:spPr>
          <a:xfrm>
            <a:off x="7104563" y="1373577"/>
            <a:ext cx="4986068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</a:rPr>
              <a:t>Rozdíly mezi regiony se postupně zmenšují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2000" b="1" dirty="0">
                <a:solidFill>
                  <a:srgbClr val="0000FF"/>
                </a:solidFill>
              </a:rPr>
              <a:t>Klesající trend je významný ve všech krajích. </a:t>
            </a:r>
            <a:endParaRPr lang="cs-CZ" sz="2000" b="1" dirty="0" smtClean="0">
              <a:solidFill>
                <a:srgbClr val="0000FF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2000" b="1" dirty="0">
              <a:solidFill>
                <a:srgbClr val="0000FF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2000" b="1" dirty="0" smtClean="0">
                <a:solidFill>
                  <a:srgbClr val="0000FF"/>
                </a:solidFill>
              </a:rPr>
              <a:t>Čtyři kraje již klesly pod týdenní počet nových případů 25/100tis. obyv. </a:t>
            </a:r>
            <a:endParaRPr lang="cs-CZ" sz="2000" b="1" dirty="0">
              <a:solidFill>
                <a:srgbClr val="0000FF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</a:endParaRPr>
          </a:p>
        </p:txBody>
      </p:sp>
      <p:graphicFrame>
        <p:nvGraphicFramePr>
          <p:cNvPr id="2" name="Tabulka 1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80500"/>
              </p:ext>
            </p:extLst>
          </p:nvPr>
        </p:nvGraphicFramePr>
        <p:xfrm>
          <a:off x="579564" y="1033447"/>
          <a:ext cx="6019644" cy="54254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664525">
                  <a:extLst>
                    <a:ext uri="{9D8B030D-6E8A-4147-A177-3AD203B41FA5}">
                      <a16:colId xmlns:a16="http://schemas.microsoft.com/office/drawing/2014/main" val="1104746273"/>
                    </a:ext>
                  </a:extLst>
                </a:gridCol>
                <a:gridCol w="1502559">
                  <a:extLst>
                    <a:ext uri="{9D8B030D-6E8A-4147-A177-3AD203B41FA5}">
                      <a16:colId xmlns:a16="http://schemas.microsoft.com/office/drawing/2014/main" val="2879916102"/>
                    </a:ext>
                  </a:extLst>
                </a:gridCol>
                <a:gridCol w="1852560">
                  <a:extLst>
                    <a:ext uri="{9D8B030D-6E8A-4147-A177-3AD203B41FA5}">
                      <a16:colId xmlns:a16="http://schemas.microsoft.com/office/drawing/2014/main" val="2227094756"/>
                    </a:ext>
                  </a:extLst>
                </a:gridCol>
              </a:tblGrid>
              <a:tr h="16637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ázev kraje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enní počet nových případů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přepočet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a  100tis.obyv.)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denní počet nových případů na 100 tis. obyv.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07620250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Zlínský</a:t>
                      </a: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600" b="1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raj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 (1.0)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9.0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09762506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lomouc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1 (1.7)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2.8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48267304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Jihočes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 (1.1)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0.9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0709433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oravskoslezs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1 (1.8)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0.2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84998111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iberec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 (1.6)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4.8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871709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raj Vysočina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 (0.8)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1.4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0686177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Ústec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 (0.2)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1.2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76411286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Jihomoravs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 (0.8)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7.6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00960626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Hlavní město Praha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3 (1.7)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7.4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8115121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lzeňs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 (0.2)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5.9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6406672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tředočeský</a:t>
                      </a: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600" b="1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raj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4 (1.0)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1.7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6103521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ardubic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 (0.8)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7.2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0984813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rálovéhradecký</a:t>
                      </a: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600" b="1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raj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 (0.5)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1.1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9304550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arlovars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 (0.0)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.8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407168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ČR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13 (1.1)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9.8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2644618"/>
                  </a:ext>
                </a:extLst>
              </a:tr>
            </a:tbl>
          </a:graphicData>
        </a:graphic>
      </p:graphicFrame>
      <p:sp>
        <p:nvSpPr>
          <p:cNvPr id="5" name="TextovéPole 4">
            <a:extLst>
              <a:ext uri="{FF2B5EF4-FFF2-40B4-BE49-F238E27FC236}">
                <a16:creationId xmlns:a16="http://schemas.microsoft.com/office/drawing/2014/main" id="{0A29EB09-17C8-452F-8EAF-45B003F09D4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7302242" y="5861264"/>
            <a:ext cx="4788389" cy="707886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</a:rPr>
              <a:t>Celková hodnota za ČR poklesla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</a:rPr>
              <a:t>pod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 panose="020B0604020202020204"/>
              </a:rPr>
              <a:t>30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</a:rPr>
              <a:t>případů / 100 tis. obyv. za 7 dní</a:t>
            </a:r>
          </a:p>
        </p:txBody>
      </p:sp>
      <p:sp>
        <p:nvSpPr>
          <p:cNvPr id="3" name="Šipka doprava 2"/>
          <p:cNvSpPr/>
          <p:nvPr/>
        </p:nvSpPr>
        <p:spPr>
          <a:xfrm>
            <a:off x="6772810" y="5904916"/>
            <a:ext cx="457200" cy="664234"/>
          </a:xfrm>
          <a:prstGeom prst="right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3072074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36164" cy="576000"/>
          </a:xfrm>
        </p:spPr>
        <p:txBody>
          <a:bodyPr/>
          <a:lstStyle/>
          <a:p>
            <a:r>
              <a:rPr lang="cs-CZ" dirty="0"/>
              <a:t>Vybrané ukazatele – srovnání regionů</a:t>
            </a:r>
          </a:p>
        </p:txBody>
      </p:sp>
      <p:pic>
        <p:nvPicPr>
          <p:cNvPr id="2" name="Obrázek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3631" y="712113"/>
            <a:ext cx="11963400" cy="6236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525256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36164" cy="576000"/>
          </a:xfrm>
        </p:spPr>
        <p:txBody>
          <a:bodyPr/>
          <a:lstStyle/>
          <a:p>
            <a:r>
              <a:rPr lang="cs-CZ" dirty="0"/>
              <a:t>Vybrané ukazatele – srovnání regionů</a:t>
            </a:r>
          </a:p>
        </p:txBody>
      </p:sp>
      <p:pic>
        <p:nvPicPr>
          <p:cNvPr id="2" name="Obrázek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8600" y="643128"/>
            <a:ext cx="11963400" cy="6214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854906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8172601" cy="576000"/>
          </a:xfrm>
        </p:spPr>
        <p:txBody>
          <a:bodyPr/>
          <a:lstStyle/>
          <a:p>
            <a:r>
              <a:rPr lang="cs-CZ" dirty="0"/>
              <a:t>Počty COVID-19 pozitivních na 100 000 v populaci v </a:t>
            </a:r>
            <a:r>
              <a:rPr lang="en-US" dirty="0" err="1"/>
              <a:t>kraj</a:t>
            </a:r>
            <a:r>
              <a:rPr lang="cs-CZ" dirty="0" err="1"/>
              <a:t>ích</a:t>
            </a:r>
            <a:r>
              <a:rPr lang="cs-CZ" dirty="0"/>
              <a:t> a ČR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 rot="16200000">
            <a:off x="-2575382" y="3335853"/>
            <a:ext cx="591424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v dané věkové skupině v populaci (suma za celý časový úsek)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B82917E-EB1A-42EA-B728-8C7B5FA8D57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0458450" y="3429000"/>
            <a:ext cx="1159667" cy="16954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B193EB7-144D-460C-97CE-E2EC4848C1E4}"/>
              </a:ext>
            </a:extLst>
          </p:cNvPr>
          <p:cNvCxnSpPr/>
          <p:nvPr>
            <p:custDataLst>
              <p:tags r:id="rId4"/>
            </p:custDataLst>
          </p:nvPr>
        </p:nvCxnSpPr>
        <p:spPr>
          <a:xfrm>
            <a:off x="5042019" y="765123"/>
            <a:ext cx="290557" cy="0"/>
          </a:xfrm>
          <a:prstGeom prst="line">
            <a:avLst/>
          </a:prstGeom>
          <a:ln w="285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68EA0C1D-374C-4981-AC45-7B9D37C21E15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339785" y="626644"/>
            <a:ext cx="48282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200" b="1" i="1" dirty="0"/>
              <a:t>Kraj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D0AEF043-182B-419C-A6BD-2E1FF6F1B57B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>
            <a:off x="5831083" y="777004"/>
            <a:ext cx="290557" cy="0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B0888145-4D3A-4A2B-AD0B-B53F94952DC7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6128849" y="638525"/>
            <a:ext cx="40588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200" b="1" i="1" dirty="0"/>
              <a:t>ČR</a:t>
            </a:r>
          </a:p>
        </p:txBody>
      </p:sp>
      <p:sp>
        <p:nvSpPr>
          <p:cNvPr id="23" name="TextBox 13">
            <a:extLst>
              <a:ext uri="{FF2B5EF4-FFF2-40B4-BE49-F238E27FC236}">
                <a16:creationId xmlns:a16="http://schemas.microsoft.com/office/drawing/2014/main" id="{D6E2622F-49FC-4FBC-81ED-6803DF0BC826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2458445" y="3890933"/>
            <a:ext cx="177484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Jiho</a:t>
            </a:r>
            <a:r>
              <a:rPr lang="cs-CZ" b="1" dirty="0"/>
              <a:t>český kraj</a:t>
            </a:r>
          </a:p>
        </p:txBody>
      </p:sp>
      <p:graphicFrame>
        <p:nvGraphicFramePr>
          <p:cNvPr id="30" name="Graf 29">
            <a:extLst>
              <a:ext uri="{FF2B5EF4-FFF2-40B4-BE49-F238E27FC236}">
                <a16:creationId xmlns:a16="http://schemas.microsoft.com/office/drawing/2014/main" id="{A0832711-C8D3-482F-ADC2-50907D83BB18}"/>
              </a:ext>
            </a:extLst>
          </p:cNvPr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710032178"/>
              </p:ext>
            </p:extLst>
          </p:nvPr>
        </p:nvGraphicFramePr>
        <p:xfrm>
          <a:off x="943142" y="1076555"/>
          <a:ext cx="5313952" cy="28045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31" name="TextBox 3">
            <a:extLst>
              <a:ext uri="{FF2B5EF4-FFF2-40B4-BE49-F238E27FC236}">
                <a16:creationId xmlns:a16="http://schemas.microsoft.com/office/drawing/2014/main" id="{FCE0B97D-4439-4640-84AF-FE88D63550A5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2093268" y="671119"/>
            <a:ext cx="14542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b="1" dirty="0"/>
              <a:t>Zlínský kraj</a:t>
            </a:r>
          </a:p>
        </p:txBody>
      </p: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6965357" y="4605321"/>
            <a:ext cx="465276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V čase signifikantně klesá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 zátěž posledních více zatížených regionů</a:t>
            </a:r>
          </a:p>
        </p:txBody>
      </p:sp>
      <p:sp>
        <p:nvSpPr>
          <p:cNvPr id="20" name="TextBox 13">
            <a:extLst>
              <a:ext uri="{FF2B5EF4-FFF2-40B4-BE49-F238E27FC236}">
                <a16:creationId xmlns:a16="http://schemas.microsoft.com/office/drawing/2014/main" id="{924AD9AF-340F-4D5B-8B1E-93FDCBB1E34D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7819468" y="967214"/>
            <a:ext cx="255711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err="1"/>
              <a:t>Moravskoslezsk</a:t>
            </a:r>
            <a:r>
              <a:rPr lang="cs-CZ" b="1" dirty="0"/>
              <a:t>ý kraj</a:t>
            </a:r>
          </a:p>
        </p:txBody>
      </p:sp>
      <p:graphicFrame>
        <p:nvGraphicFramePr>
          <p:cNvPr id="17" name="Graf 29">
            <a:extLst>
              <a:ext uri="{FF2B5EF4-FFF2-40B4-BE49-F238E27FC236}">
                <a16:creationId xmlns:a16="http://schemas.microsoft.com/office/drawing/2014/main" id="{158F850B-3E84-4D5F-ABD7-5C4C63D33624}"/>
              </a:ext>
            </a:extLst>
          </p:cNvPr>
          <p:cNvGraphicFramePr/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794230537"/>
              </p:ext>
            </p:extLst>
          </p:nvPr>
        </p:nvGraphicFramePr>
        <p:xfrm>
          <a:off x="6257094" y="1052350"/>
          <a:ext cx="5313952" cy="28045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graphicFrame>
        <p:nvGraphicFramePr>
          <p:cNvPr id="21" name="Graf 29">
            <a:extLst>
              <a:ext uri="{FF2B5EF4-FFF2-40B4-BE49-F238E27FC236}">
                <a16:creationId xmlns:a16="http://schemas.microsoft.com/office/drawing/2014/main" id="{9F5E2AB7-F5B1-4F13-9B59-7B576D7F44AA}"/>
              </a:ext>
            </a:extLst>
          </p:cNvPr>
          <p:cNvGraphicFramePr/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354756092"/>
              </p:ext>
            </p:extLst>
          </p:nvPr>
        </p:nvGraphicFramePr>
        <p:xfrm>
          <a:off x="943142" y="3905356"/>
          <a:ext cx="5313952" cy="28045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</p:spTree>
    <p:extLst>
      <p:ext uri="{BB962C8B-B14F-4D97-AF65-F5344CB8AC3E}">
        <p14:creationId xmlns:p14="http://schemas.microsoft.com/office/powerpoint/2010/main" val="186423774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98F308F-8B97-4E6E-A76A-3F0B3FCE256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98406" y="3444286"/>
            <a:ext cx="4768041" cy="4751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>
                <a:latin typeface="+mn-lt"/>
              </a:rPr>
              <a:t>R (zjednodušený výpočet) - 7 denní úseky: srovnání krajů k </a:t>
            </a:r>
            <a:r>
              <a:rPr lang="pl-PL" sz="2000" dirty="0" smtClean="0">
                <a:latin typeface="+mn-lt"/>
              </a:rPr>
              <a:t>30.5</a:t>
            </a:r>
            <a:r>
              <a:rPr lang="pl-PL" sz="2000" dirty="0">
                <a:latin typeface="+mn-lt"/>
              </a:rPr>
              <a:t>.</a:t>
            </a:r>
            <a:endParaRPr lang="cs-CZ" sz="2000" dirty="0">
              <a:latin typeface="+mn-lt"/>
            </a:endParaRP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08A00E16-03C7-47EB-BFF1-4816E8247AF8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106414925"/>
              </p:ext>
            </p:extLst>
          </p:nvPr>
        </p:nvGraphicFramePr>
        <p:xfrm>
          <a:off x="270230" y="1097989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5" name="TextovéPole 14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6387152" y="2620417"/>
            <a:ext cx="465276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odnota reprodukčního čísla je &lt; 1 ve všech regionech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4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pidemie klesá a v důsledku toho se zmenšují rozdíly mezi regiony. </a:t>
            </a:r>
          </a:p>
        </p:txBody>
      </p:sp>
    </p:spTree>
    <p:extLst>
      <p:ext uri="{BB962C8B-B14F-4D97-AF65-F5344CB8AC3E}">
        <p14:creationId xmlns:p14="http://schemas.microsoft.com/office/powerpoint/2010/main" val="43181612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986" y="1"/>
            <a:ext cx="11939900" cy="681036"/>
          </a:xfrm>
        </p:spPr>
        <p:txBody>
          <a:bodyPr>
            <a:normAutofit/>
          </a:bodyPr>
          <a:lstStyle/>
          <a:p>
            <a:r>
              <a:rPr lang="pl-PL" sz="2000" dirty="0">
                <a:latin typeface="+mn-lt"/>
              </a:rPr>
              <a:t>Relativní pozitivita testů s diagnostickou/epidemiologickou indikací za 7 dní</a:t>
            </a:r>
            <a:endParaRPr lang="cs-CZ" sz="2000" dirty="0">
              <a:latin typeface="+mn-lt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36D1E585-3993-416C-AF95-42C197FE79D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5128599" y="835127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172D653-29BB-46C3-83F2-8221BA928DD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297335" y="771238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.3.2021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5C80593F-C2D7-48EC-9C6F-8A8D60EF292D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6360500" y="828984"/>
            <a:ext cx="180000" cy="180000"/>
          </a:xfrm>
          <a:prstGeom prst="rect">
            <a:avLst/>
          </a:prstGeom>
          <a:solidFill>
            <a:srgbClr val="4010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8D4B11B-8579-446E-91AF-8288C6B43631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6492057" y="765095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.4.2021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6DAB7E79-4343-403B-91F5-3309618E2A10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516261" y="822456"/>
            <a:ext cx="180000" cy="1800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0A0394B2-B166-4AEA-96C1-E480F847DCBD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7666868" y="758567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5.2021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A7DA604F-A1A3-44C2-A908-EC9EB9AC5344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4919" y="4491874"/>
            <a:ext cx="8050306" cy="4751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35" name="Chart 34">
            <a:extLst>
              <a:ext uri="{FF2B5EF4-FFF2-40B4-BE49-F238E27FC236}">
                <a16:creationId xmlns:a16="http://schemas.microsoft.com/office/drawing/2014/main" id="{CAF076D9-A235-470C-9BC7-C9DD9FE8D7FC}"/>
              </a:ext>
            </a:extLst>
          </p:cNvPr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910622480"/>
              </p:ext>
            </p:extLst>
          </p:nvPr>
        </p:nvGraphicFramePr>
        <p:xfrm>
          <a:off x="4961634" y="1118792"/>
          <a:ext cx="3740410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graphicFrame>
        <p:nvGraphicFramePr>
          <p:cNvPr id="36" name="Chart 35">
            <a:extLst>
              <a:ext uri="{FF2B5EF4-FFF2-40B4-BE49-F238E27FC236}">
                <a16:creationId xmlns:a16="http://schemas.microsoft.com/office/drawing/2014/main" id="{8B0B522C-5BE7-400C-9C38-FFD78A223EB9}"/>
              </a:ext>
            </a:extLst>
          </p:cNvPr>
          <p:cNvGraphicFramePr/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171492236"/>
              </p:ext>
            </p:extLst>
          </p:nvPr>
        </p:nvGraphicFramePr>
        <p:xfrm>
          <a:off x="224224" y="1118792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15" name="TextovéPole 14">
            <a:extLst>
              <a:ext uri="{FF2B5EF4-FFF2-40B4-BE49-F238E27FC236}">
                <a16:creationId xmlns:a16="http://schemas.microsoft.com/office/drawing/2014/main" id="{0A29EB09-17C8-452F-8EAF-45B003F09D46}"/>
              </a:ext>
            </a:extLst>
          </p:cNvPr>
          <p:cNvSpPr txBox="1"/>
          <p:nvPr/>
        </p:nvSpPr>
        <p:spPr>
          <a:xfrm>
            <a:off x="8590239" y="2419195"/>
            <a:ext cx="3228722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lativní pozitivita diagnosticky a klinicky indikovaných testů a testů z epidemiologické indikace  klesá v čase ve všech regionech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šechny kraje</a:t>
            </a:r>
            <a:r>
              <a:rPr kumimoji="0" lang="cs-CZ" sz="2000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vykazují hodnoty tohoto indikátoru pod 5%. 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4681979-8D7B-4CCB-B955-EFE9E6292637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8639428" y="822456"/>
            <a:ext cx="180000" cy="180000"/>
          </a:xfrm>
          <a:prstGeom prst="rect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4880431-BE22-4A6A-8973-100F5FFE2E46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8790035" y="758567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9.5.2021</a:t>
            </a:r>
          </a:p>
        </p:txBody>
      </p:sp>
    </p:spTree>
    <p:extLst>
      <p:ext uri="{BB962C8B-B14F-4D97-AF65-F5344CB8AC3E}">
        <p14:creationId xmlns:p14="http://schemas.microsoft.com/office/powerpoint/2010/main" val="13294265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986" y="1"/>
            <a:ext cx="11939900" cy="681036"/>
          </a:xfrm>
        </p:spPr>
        <p:txBody>
          <a:bodyPr>
            <a:normAutofit/>
          </a:bodyPr>
          <a:lstStyle/>
          <a:p>
            <a:r>
              <a:rPr lang="pl-PL" sz="2000" dirty="0">
                <a:latin typeface="+mn-lt"/>
              </a:rPr>
              <a:t>Nové symptomatické případy za 7 dní na 100 000 obyvatel</a:t>
            </a:r>
            <a:endParaRPr lang="cs-CZ" sz="2000" dirty="0">
              <a:latin typeface="+mn-l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A7DA604F-A1A3-44C2-A908-EC9EB9AC534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919" y="3794627"/>
            <a:ext cx="8050306" cy="4751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35" name="Chart 34">
            <a:extLst>
              <a:ext uri="{FF2B5EF4-FFF2-40B4-BE49-F238E27FC236}">
                <a16:creationId xmlns:a16="http://schemas.microsoft.com/office/drawing/2014/main" id="{CAF076D9-A235-470C-9BC7-C9DD9FE8D7FC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623709883"/>
              </p:ext>
            </p:extLst>
          </p:nvPr>
        </p:nvGraphicFramePr>
        <p:xfrm>
          <a:off x="4961634" y="1118792"/>
          <a:ext cx="3740410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graphicFrame>
        <p:nvGraphicFramePr>
          <p:cNvPr id="36" name="Chart 35">
            <a:extLst>
              <a:ext uri="{FF2B5EF4-FFF2-40B4-BE49-F238E27FC236}">
                <a16:creationId xmlns:a16="http://schemas.microsoft.com/office/drawing/2014/main" id="{8B0B522C-5BE7-400C-9C38-FFD78A223EB9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977580185"/>
              </p:ext>
            </p:extLst>
          </p:nvPr>
        </p:nvGraphicFramePr>
        <p:xfrm>
          <a:off x="224224" y="1118792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15" name="TextovéPole 14">
            <a:extLst>
              <a:ext uri="{FF2B5EF4-FFF2-40B4-BE49-F238E27FC236}">
                <a16:creationId xmlns:a16="http://schemas.microsoft.com/office/drawing/2014/main" id="{0A29EB09-17C8-452F-8EAF-45B003F09D46}"/>
              </a:ext>
            </a:extLst>
          </p:cNvPr>
          <p:cNvSpPr txBox="1"/>
          <p:nvPr/>
        </p:nvSpPr>
        <p:spPr>
          <a:xfrm>
            <a:off x="8790035" y="2011604"/>
            <a:ext cx="3003663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ty nově diagnostikovaných klesají případů se symptomy klesají v čase ve všech regionech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írně zvýšené hodnoty vykazují kraje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línský a Olomoucký</a:t>
            </a:r>
            <a:r>
              <a:rPr kumimoji="0" lang="cs-CZ" sz="2000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nejde však o rizikové hodnoty a vývoj.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5B59230-C165-486D-A385-2EAB33330E8C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5128599" y="835127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9E31F8C-55B9-4292-AE66-EBBFB2B5CD28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297335" y="771238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.3.2021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46D7AD1-6F24-4B52-9A1E-791A45D97E48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6360500" y="828984"/>
            <a:ext cx="180000" cy="180000"/>
          </a:xfrm>
          <a:prstGeom prst="rect">
            <a:avLst/>
          </a:prstGeom>
          <a:solidFill>
            <a:srgbClr val="4010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7AEB568-22E2-4881-995E-D44AFD890D12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6492057" y="765095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.4.2021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84997D1-7CC0-4D87-AAE2-896892CF9705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7516261" y="822456"/>
            <a:ext cx="180000" cy="1800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15CEE02-F8D1-4562-8C35-5D4200C2D72E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7666868" y="758567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5.2021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77C6EAE-468F-42A2-982E-37EE3DE0C361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8639428" y="822456"/>
            <a:ext cx="180000" cy="180000"/>
          </a:xfrm>
          <a:prstGeom prst="rect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E6A51B4-ACA0-4DC0-8EE8-850A18AF813A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8790035" y="758567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9.5.2021</a:t>
            </a:r>
          </a:p>
        </p:txBody>
      </p:sp>
      <p:sp>
        <p:nvSpPr>
          <p:cNvPr id="16" name="TextovéPole 6">
            <a:extLst>
              <a:ext uri="{FF2B5EF4-FFF2-40B4-BE49-F238E27FC236}">
                <a16:creationId xmlns:a16="http://schemas.microsoft.com/office/drawing/2014/main" id="{918DA6A8-9969-4BED-914D-C3985152945F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1124943" y="945486"/>
            <a:ext cx="324108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případů za 7 dní/100 tis. obyv.</a:t>
            </a:r>
          </a:p>
        </p:txBody>
      </p:sp>
    </p:spTree>
    <p:extLst>
      <p:ext uri="{BB962C8B-B14F-4D97-AF65-F5344CB8AC3E}">
        <p14:creationId xmlns:p14="http://schemas.microsoft.com/office/powerpoint/2010/main" val="250795545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/>
              <a:t>Nové případy za 7 dní na 100 000 obyvatel: 20 okresů s nejvyššími hodnotami k </a:t>
            </a:r>
            <a:r>
              <a:rPr lang="cs-CZ" sz="2000" dirty="0"/>
              <a:t>29</a:t>
            </a:r>
            <a:r>
              <a:rPr lang="pl-PL" sz="2000" dirty="0"/>
              <a:t>.</a:t>
            </a:r>
            <a:r>
              <a:rPr lang="en-US" sz="2000" dirty="0"/>
              <a:t>5</a:t>
            </a:r>
            <a:r>
              <a:rPr lang="pl-PL" sz="2000" dirty="0"/>
              <a:t>.</a:t>
            </a:r>
            <a:endParaRPr lang="cs-CZ" sz="2000" dirty="0">
              <a:latin typeface="+mn-lt"/>
            </a:endParaRP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08A00E16-03C7-47EB-BFF1-4816E8247AF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0436464"/>
              </p:ext>
            </p:extLst>
          </p:nvPr>
        </p:nvGraphicFramePr>
        <p:xfrm>
          <a:off x="71824" y="1253263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8" name="TextovéPole 6">
            <a:extLst>
              <a:ext uri="{FF2B5EF4-FFF2-40B4-BE49-F238E27FC236}">
                <a16:creationId xmlns:a16="http://schemas.microsoft.com/office/drawing/2014/main" id="{918DA6A8-9969-4BED-914D-C3985152945F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124943" y="945486"/>
            <a:ext cx="324108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případů za 7 dní/100 tis. obyv.</a:t>
            </a:r>
          </a:p>
        </p:txBody>
      </p:sp>
      <p:graphicFrame>
        <p:nvGraphicFramePr>
          <p:cNvPr id="14" name="Chart 34">
            <a:extLst>
              <a:ext uri="{FF2B5EF4-FFF2-40B4-BE49-F238E27FC236}">
                <a16:creationId xmlns:a16="http://schemas.microsoft.com/office/drawing/2014/main" id="{CAF076D9-A235-470C-9BC7-C9DD9FE8D7FC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728991971"/>
              </p:ext>
            </p:extLst>
          </p:nvPr>
        </p:nvGraphicFramePr>
        <p:xfrm>
          <a:off x="4989018" y="1207763"/>
          <a:ext cx="3740410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15" name="TextovéPole 14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729428" y="1819469"/>
            <a:ext cx="3339963" cy="4708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louhodobě v čase signifikantně klesá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 zátěž nejvíce zatížených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kresů. Žádný z okresů</a:t>
            </a:r>
            <a:r>
              <a:rPr kumimoji="0" lang="cs-CZ" sz="2000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již nepřekračuje hodnotu týdenních kumulativních záchytů 100/100tis. obyv.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ktuálně největší počet potvrzených záchytů nákazy na 100tis. obyv. registrují okresy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Šumperk, Č. Krumlov, Rokycany</a:t>
            </a:r>
            <a:r>
              <a:rPr kumimoji="0" lang="cs-CZ" sz="2000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a Č. Budějovice. 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97FA685-9353-4F95-B0C5-0C18E29656A0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5128599" y="835127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8D018B8-FCC2-498E-A88B-199C64FD7870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5297335" y="771238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.3.2021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1481791-F247-4C6E-A003-B594E343508C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6360500" y="828984"/>
            <a:ext cx="180000" cy="180000"/>
          </a:xfrm>
          <a:prstGeom prst="rect">
            <a:avLst/>
          </a:prstGeom>
          <a:solidFill>
            <a:srgbClr val="4010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C9B0EEE-186D-481F-9658-9AC616DD7D1D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6492057" y="765095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.4.2021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9FA27BD-12AA-44F0-B6EB-55760584F156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7516261" y="822456"/>
            <a:ext cx="180000" cy="1800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DA5799D-2751-41DA-8611-70EFB8F39A17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7666868" y="758567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5.2021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69A25F0C-78E5-45F8-A19E-8E09DA924666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8639428" y="822456"/>
            <a:ext cx="180000" cy="180000"/>
          </a:xfrm>
          <a:prstGeom prst="rect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7AA2FF9-D78F-4ADC-BD24-BEA4E8BCF08F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8790035" y="758567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9.5.2021</a:t>
            </a:r>
          </a:p>
        </p:txBody>
      </p:sp>
    </p:spTree>
    <p:extLst>
      <p:ext uri="{BB962C8B-B14F-4D97-AF65-F5344CB8AC3E}">
        <p14:creationId xmlns:p14="http://schemas.microsoft.com/office/powerpoint/2010/main" val="329157223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/>
              <a:t>Nové případy za 7 dní na 100 000 obyvatel: 20 okresů s nejvyššími hodnotami k </a:t>
            </a:r>
            <a:r>
              <a:rPr lang="cs-CZ" sz="2000" dirty="0"/>
              <a:t>29</a:t>
            </a:r>
            <a:r>
              <a:rPr lang="pl-PL" sz="2000" dirty="0"/>
              <a:t>.</a:t>
            </a:r>
            <a:r>
              <a:rPr lang="en-US" sz="2000" dirty="0"/>
              <a:t>5</a:t>
            </a:r>
            <a:r>
              <a:rPr lang="pl-PL" sz="2000" dirty="0"/>
              <a:t>.</a:t>
            </a:r>
            <a:endParaRPr lang="cs-CZ" sz="2000" dirty="0">
              <a:latin typeface="+mn-lt"/>
            </a:endParaRP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08A00E16-03C7-47EB-BFF1-4816E8247AF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9715538"/>
              </p:ext>
            </p:extLst>
          </p:nvPr>
        </p:nvGraphicFramePr>
        <p:xfrm>
          <a:off x="71824" y="1253263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8" name="TextovéPole 6">
            <a:extLst>
              <a:ext uri="{FF2B5EF4-FFF2-40B4-BE49-F238E27FC236}">
                <a16:creationId xmlns:a16="http://schemas.microsoft.com/office/drawing/2014/main" id="{918DA6A8-9969-4BED-914D-C3985152945F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124943" y="945486"/>
            <a:ext cx="324108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případů za 7 dní/100 tis. obyv.</a:t>
            </a:r>
          </a:p>
        </p:txBody>
      </p:sp>
      <p:sp>
        <p:nvSpPr>
          <p:cNvPr id="9" name="TextovéPole 6">
            <a:extLst>
              <a:ext uri="{FF2B5EF4-FFF2-40B4-BE49-F238E27FC236}">
                <a16:creationId xmlns:a16="http://schemas.microsoft.com/office/drawing/2014/main" id="{9B45D4F8-61EE-403A-869D-55184481FCC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4773463" y="925059"/>
            <a:ext cx="343555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 (20 okresů s nejvyššími hodnotami)</a:t>
            </a: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427F0E65-C6B8-4A75-8D1B-D96D31B1B032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622488239"/>
              </p:ext>
            </p:extLst>
          </p:nvPr>
        </p:nvGraphicFramePr>
        <p:xfrm>
          <a:off x="4917936" y="1301175"/>
          <a:ext cx="3146613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76ACD2A0-0BE8-480D-A338-915B7AAB8F86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215964265"/>
              </p:ext>
            </p:extLst>
          </p:nvPr>
        </p:nvGraphicFramePr>
        <p:xfrm>
          <a:off x="8389776" y="1342877"/>
          <a:ext cx="3146613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12" name="TextovéPole 6">
            <a:extLst>
              <a:ext uri="{FF2B5EF4-FFF2-40B4-BE49-F238E27FC236}">
                <a16:creationId xmlns:a16="http://schemas.microsoft.com/office/drawing/2014/main" id="{FA5B2374-6BF8-4269-978D-62AC84EEE7BF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245303" y="817715"/>
            <a:ext cx="343555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lativní pozitivita diagnostických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/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pidemiologick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ých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testů</a:t>
            </a:r>
          </a:p>
        </p:txBody>
      </p:sp>
    </p:spTree>
    <p:extLst>
      <p:ext uri="{BB962C8B-B14F-4D97-AF65-F5344CB8AC3E}">
        <p14:creationId xmlns:p14="http://schemas.microsoft.com/office/powerpoint/2010/main" val="331106702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/>
              <a:t>20 okresů s nejvyššími hodnotami R k </a:t>
            </a:r>
            <a:r>
              <a:rPr lang="cs-CZ" sz="2000" dirty="0"/>
              <a:t>29</a:t>
            </a:r>
            <a:r>
              <a:rPr lang="pl-PL" sz="2000" dirty="0"/>
              <a:t>.</a:t>
            </a:r>
            <a:r>
              <a:rPr lang="en-US" sz="2000" dirty="0"/>
              <a:t>5</a:t>
            </a:r>
            <a:r>
              <a:rPr lang="pl-PL" sz="2000" dirty="0"/>
              <a:t>. a jejich celková populační zátěž </a:t>
            </a:r>
            <a:endParaRPr lang="cs-CZ" sz="2000" dirty="0">
              <a:latin typeface="+mn-lt"/>
            </a:endParaRP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08A00E16-03C7-47EB-BFF1-4816E8247AF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2637167"/>
              </p:ext>
            </p:extLst>
          </p:nvPr>
        </p:nvGraphicFramePr>
        <p:xfrm>
          <a:off x="71824" y="1253263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8" name="TextovéPole 6">
            <a:extLst>
              <a:ext uri="{FF2B5EF4-FFF2-40B4-BE49-F238E27FC236}">
                <a16:creationId xmlns:a16="http://schemas.microsoft.com/office/drawing/2014/main" id="{918DA6A8-9969-4BED-914D-C3985152945F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251619" y="945486"/>
            <a:ext cx="343555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 (20 okresů s nejvyššími hodnotami)</a:t>
            </a:r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468FC797-0E96-4C3E-B963-3453AA9DA653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119373527"/>
              </p:ext>
            </p:extLst>
          </p:nvPr>
        </p:nvGraphicFramePr>
        <p:xfrm>
          <a:off x="4917936" y="1301175"/>
          <a:ext cx="3146613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0" name="TextovéPole 6">
            <a:extLst>
              <a:ext uri="{FF2B5EF4-FFF2-40B4-BE49-F238E27FC236}">
                <a16:creationId xmlns:a16="http://schemas.microsoft.com/office/drawing/2014/main" id="{EC921A74-54AF-4962-AD3E-D7ADB3CF99F8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4917936" y="938290"/>
            <a:ext cx="324108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případů za 7 dní/100 tis. obyv.</a:t>
            </a:r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3BE1024E-8C1A-45B3-BC41-BA091ED1B9DF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116480262"/>
              </p:ext>
            </p:extLst>
          </p:nvPr>
        </p:nvGraphicFramePr>
        <p:xfrm>
          <a:off x="8389776" y="1342877"/>
          <a:ext cx="3146613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12" name="TextovéPole 6">
            <a:extLst>
              <a:ext uri="{FF2B5EF4-FFF2-40B4-BE49-F238E27FC236}">
                <a16:creationId xmlns:a16="http://schemas.microsoft.com/office/drawing/2014/main" id="{6049A26A-3141-437F-BFC4-FCA8B37473E5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245303" y="817715"/>
            <a:ext cx="343555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lativní pozitivita diagnostických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/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pidemiologick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ých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testů</a:t>
            </a:r>
          </a:p>
        </p:txBody>
      </p:sp>
    </p:spTree>
    <p:extLst>
      <p:ext uri="{BB962C8B-B14F-4D97-AF65-F5344CB8AC3E}">
        <p14:creationId xmlns:p14="http://schemas.microsoft.com/office/powerpoint/2010/main" val="17369317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/>
        </p:nvSpPr>
        <p:spPr>
          <a:xfrm>
            <a:off x="154132" y="1910823"/>
            <a:ext cx="11820525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ůměrný počet nově prokázaných případů onemocnění klesl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d </a:t>
            </a:r>
            <a:r>
              <a:rPr lang="cs-CZ" sz="3200" b="1" u="sng" dirty="0" smtClean="0">
                <a:solidFill>
                  <a:srgbClr val="0000FF"/>
                </a:solidFill>
                <a:latin typeface="Calibri" panose="020F0502020204030204"/>
              </a:rPr>
              <a:t>5</a:t>
            </a:r>
            <a:r>
              <a:rPr kumimoji="0" lang="cs-CZ" sz="3200" b="1" i="0" u="sng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0 </a:t>
            </a:r>
            <a:r>
              <a:rPr kumimoji="0" lang="cs-CZ" sz="32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ě</a:t>
            </a: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Stále klesá relativní pozitivita indikovaných testů. Významný je i pokles nově nakažených potenciálně zranitelných skupin obyvatel. Reprodukční číslo osciluje mezi 0,70 – 0,80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3200" b="1" dirty="0">
              <a:solidFill>
                <a:srgbClr val="0000FF"/>
              </a:solidFill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3200" b="1" dirty="0">
              <a:solidFill>
                <a:srgbClr val="0000FF"/>
              </a:solidFill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kles je nadále patrný u všech věkových kategorií dětí i dospělých. </a:t>
            </a:r>
          </a:p>
        </p:txBody>
      </p:sp>
      <p:sp>
        <p:nvSpPr>
          <p:cNvPr id="6" name="Šipka dolů 5"/>
          <p:cNvSpPr/>
          <p:nvPr/>
        </p:nvSpPr>
        <p:spPr>
          <a:xfrm>
            <a:off x="5339526" y="1346633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439883" y="166286"/>
            <a:ext cx="11249025" cy="1180347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e na populační úrovni prokazatelně stále zpomaluje, rovněž klesá zátěž nemocnic</a:t>
            </a:r>
          </a:p>
        </p:txBody>
      </p:sp>
      <p:sp>
        <p:nvSpPr>
          <p:cNvPr id="10" name="Šipka dolů 9"/>
          <p:cNvSpPr/>
          <p:nvPr/>
        </p:nvSpPr>
        <p:spPr>
          <a:xfrm>
            <a:off x="5339525" y="4160036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Šipka dolů 11"/>
          <p:cNvSpPr/>
          <p:nvPr/>
        </p:nvSpPr>
        <p:spPr>
          <a:xfrm>
            <a:off x="5339525" y="5621448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132744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Map&#10;&#10;Description automatically generated">
            <a:extLst>
              <a:ext uri="{FF2B5EF4-FFF2-40B4-BE49-F238E27FC236}">
                <a16:creationId xmlns:a16="http://schemas.microsoft.com/office/drawing/2014/main" id="{F39942F8-6D80-4708-8D4A-885F3F3D4D17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925" y="676356"/>
            <a:ext cx="7442642" cy="4876800"/>
          </a:xfrm>
          <a:prstGeom prst="rect">
            <a:avLst/>
          </a:prstGeom>
        </p:spPr>
      </p:pic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/>
              <a:t>Přehled okresů s poteniálně rizikovými epidemickými hodnotami</a:t>
            </a:r>
            <a:endParaRPr lang="cs-CZ" sz="2000" dirty="0">
              <a:latin typeface="+mn-lt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A9CE990-B476-48D3-9B51-BD51368C6C0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61925" y="5726481"/>
            <a:ext cx="180000" cy="180000"/>
          </a:xfrm>
          <a:prstGeom prst="rect">
            <a:avLst/>
          </a:prstGeom>
          <a:solidFill>
            <a:srgbClr val="D0CCC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4424877-C36B-476A-80A2-75A84432AC9D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61925" y="6098636"/>
            <a:ext cx="180000" cy="180000"/>
          </a:xfrm>
          <a:prstGeom prst="rect">
            <a:avLst/>
          </a:prstGeom>
          <a:solidFill>
            <a:srgbClr val="59535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AC83000-BE90-410D-BCEB-3BEC6AE05551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61925" y="6498779"/>
            <a:ext cx="180000" cy="180000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EB73E81-14CA-4808-AA44-F71F2F14BCB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27650" y="5631815"/>
            <a:ext cx="9249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kresy s vysokými 7denními novými počty pozitivních a R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lt;0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95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9557CE4-9D86-46E6-B551-9FD22B69FA0A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427650" y="6030792"/>
            <a:ext cx="8925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≥0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95, ale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spad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á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zi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20 okresů s nejvyššími 7denními novými počty pozitivních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C20F612-C5CB-4791-BE1D-DD2B112E2ADA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427650" y="6400124"/>
            <a:ext cx="8925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≥0.95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pad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á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zi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20 okresů s nejvyššími 7denními novými počty pozitivních 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AC43C3E8-C5A1-4534-9DCC-3A966C17E21F}"/>
              </a:ext>
            </a:extLst>
          </p:cNvPr>
          <p:cNvGraphicFramePr>
            <a:graphicFrameLocks noGrp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826778297"/>
              </p:ext>
            </p:extLst>
          </p:nvPr>
        </p:nvGraphicFramePr>
        <p:xfrm>
          <a:off x="9763125" y="695035"/>
          <a:ext cx="2315612" cy="6156960"/>
        </p:xfrm>
        <a:graphic>
          <a:graphicData uri="http://schemas.openxmlformats.org/drawingml/2006/table">
            <a:tbl>
              <a:tblPr/>
              <a:tblGrid>
                <a:gridCol w="2315612">
                  <a:extLst>
                    <a:ext uri="{9D8B030D-6E8A-4147-A177-3AD203B41FA5}">
                      <a16:colId xmlns:a16="http://schemas.microsoft.com/office/drawing/2014/main" val="2025806962"/>
                    </a:ext>
                  </a:extLst>
                </a:gridCol>
              </a:tblGrid>
              <a:tr h="189226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Šumperk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9F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0602827"/>
                  </a:ext>
                </a:extLst>
              </a:tr>
              <a:tr h="189226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Český Krumlov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9F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8937619"/>
                  </a:ext>
                </a:extLst>
              </a:tr>
              <a:tr h="189226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Rokycany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9F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281902"/>
                  </a:ext>
                </a:extLst>
              </a:tr>
              <a:tr h="189226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České Budějovice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9F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4627683"/>
                  </a:ext>
                </a:extLst>
              </a:tr>
              <a:tr h="189226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pava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9F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0800842"/>
                  </a:ext>
                </a:extLst>
              </a:tr>
              <a:tr h="189226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9F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067573"/>
                  </a:ext>
                </a:extLst>
              </a:tr>
              <a:tr h="189226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Děčín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9F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209254"/>
                  </a:ext>
                </a:extLst>
              </a:tr>
              <a:tr h="189226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Česká Lípa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9F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5444811"/>
                  </a:ext>
                </a:extLst>
              </a:tr>
              <a:tr h="189226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strava-město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9F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2765409"/>
                  </a:ext>
                </a:extLst>
              </a:tr>
              <a:tr h="189226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řerov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9F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6919642"/>
                  </a:ext>
                </a:extLst>
              </a:tr>
              <a:tr h="189226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rostějov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9F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0409603"/>
                  </a:ext>
                </a:extLst>
              </a:tr>
              <a:tr h="189226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Frýdek-Místek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9F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9952731"/>
                  </a:ext>
                </a:extLst>
              </a:tr>
              <a:tr h="189226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avlíčkův Brod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9F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686122"/>
                  </a:ext>
                </a:extLst>
              </a:tr>
              <a:tr h="189226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9F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84657457"/>
                  </a:ext>
                </a:extLst>
              </a:tr>
              <a:tr h="189226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Vsetín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9F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4916323"/>
                  </a:ext>
                </a:extLst>
              </a:tr>
              <a:tr h="189226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raha-západ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9F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3723995"/>
                  </a:ext>
                </a:extLst>
              </a:tr>
              <a:tr h="189226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viná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9F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4436331"/>
                  </a:ext>
                </a:extLst>
              </a:tr>
              <a:tr h="189226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2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Jablonec nad Nisou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D6B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1254580"/>
                  </a:ext>
                </a:extLst>
              </a:tr>
              <a:tr h="189226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2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Břeclav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D6B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5127035"/>
                  </a:ext>
                </a:extLst>
              </a:tr>
              <a:tr h="189226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2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Teplice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D6B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7664073"/>
                  </a:ext>
                </a:extLst>
              </a:tr>
              <a:tr h="189226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Rakovník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D6B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3469898"/>
                  </a:ext>
                </a:extLst>
              </a:tr>
              <a:tr h="189226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2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lzeň-sever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D6B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1857957"/>
                  </a:ext>
                </a:extLst>
              </a:tr>
              <a:tr h="189226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2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Louny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D6B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1487794"/>
                  </a:ext>
                </a:extLst>
              </a:tr>
              <a:tr h="189226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2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ladá Boleslav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D6B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4971357"/>
                  </a:ext>
                </a:extLst>
              </a:tr>
              <a:tr h="189226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2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lzeň-jih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D6B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293178"/>
                  </a:ext>
                </a:extLst>
              </a:tr>
              <a:tr h="189226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2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Jeseník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D6B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2596663"/>
                  </a:ext>
                </a:extLst>
              </a:tr>
              <a:tr h="189226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2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Semily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D6B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1292572"/>
                  </a:ext>
                </a:extLst>
              </a:tr>
              <a:tr h="189226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2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Jičín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D6B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7880910"/>
                  </a:ext>
                </a:extLst>
              </a:tr>
              <a:tr h="189226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Trutnov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D6B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2618017"/>
                  </a:ext>
                </a:extLst>
              </a:tr>
              <a:tr h="189226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2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Uherské Hradiště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3698199"/>
                  </a:ext>
                </a:extLst>
              </a:tr>
              <a:tr h="189226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Kroměříž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918537"/>
                  </a:ext>
                </a:extLst>
              </a:tr>
              <a:tr h="189226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Chomutov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9851353"/>
                  </a:ext>
                </a:extLst>
              </a:tr>
            </a:tbl>
          </a:graphicData>
        </a:graphic>
      </p:graphicFrame>
      <p:sp>
        <p:nvSpPr>
          <p:cNvPr id="3" name="TextovéPole 2"/>
          <p:cNvSpPr txBox="1"/>
          <p:nvPr>
            <p:custDataLst>
              <p:tags r:id="rId10"/>
            </p:custDataLst>
          </p:nvPr>
        </p:nvSpPr>
        <p:spPr>
          <a:xfrm>
            <a:off x="5547949" y="869295"/>
            <a:ext cx="417374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elkem </a:t>
            </a:r>
            <a:r>
              <a:rPr kumimoji="0" lang="cs-CZ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kresy (červeně) </a:t>
            </a:r>
            <a:r>
              <a:rPr kumimoji="0" lang="cs-CZ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ykazují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ysoký standardizovaný záchyt počtu nemocných a přitom potenciálně růstovou dynamiku šíření (R blízké 1 nebo nad 1).  </a:t>
            </a:r>
          </a:p>
        </p:txBody>
      </p:sp>
    </p:spTree>
    <p:extLst>
      <p:ext uri="{BB962C8B-B14F-4D97-AF65-F5344CB8AC3E}">
        <p14:creationId xmlns:p14="http://schemas.microsoft.com/office/powerpoint/2010/main" val="84066268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95275" y="3693109"/>
            <a:ext cx="11737724" cy="2238375"/>
          </a:xfrm>
        </p:spPr>
        <p:txBody>
          <a:bodyPr>
            <a:normAutofit/>
          </a:bodyPr>
          <a:lstStyle/>
          <a:p>
            <a:r>
              <a:rPr lang="cs-CZ" sz="5000" b="1" dirty="0"/>
              <a:t>Vybrané závěry prediktivních </a:t>
            </a:r>
          </a:p>
          <a:p>
            <a:r>
              <a:rPr lang="cs-CZ" sz="5000" b="1" dirty="0"/>
              <a:t>populačních modelů </a:t>
            </a:r>
          </a:p>
        </p:txBody>
      </p:sp>
    </p:spTree>
    <p:extLst>
      <p:ext uri="{BB962C8B-B14F-4D97-AF65-F5344CB8AC3E}">
        <p14:creationId xmlns:p14="http://schemas.microsoft.com/office/powerpoint/2010/main" val="284164130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ovéPole 6"/>
          <p:cNvSpPr txBox="1"/>
          <p:nvPr/>
        </p:nvSpPr>
        <p:spPr>
          <a:xfrm>
            <a:off x="231940" y="2784875"/>
            <a:ext cx="11785268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3200" b="1" dirty="0">
                <a:solidFill>
                  <a:srgbClr val="0000FF"/>
                </a:solidFill>
              </a:rPr>
              <a:t>Reálná data a vývoj epidemie dosud potvrzují, že rozvolnění </a:t>
            </a:r>
          </a:p>
          <a:p>
            <a:pPr lvl="0" algn="ctr">
              <a:defRPr/>
            </a:pPr>
            <a:r>
              <a:rPr lang="cs-CZ" sz="3200" b="1" dirty="0">
                <a:solidFill>
                  <a:srgbClr val="0000FF"/>
                </a:solidFill>
              </a:rPr>
              <a:t>v dubnu a po </a:t>
            </a:r>
            <a:r>
              <a:rPr lang="cs-CZ" sz="3200" b="1" dirty="0" smtClean="0">
                <a:solidFill>
                  <a:srgbClr val="0000FF"/>
                </a:solidFill>
              </a:rPr>
              <a:t>10.5</a:t>
            </a:r>
            <a:r>
              <a:rPr lang="cs-CZ" sz="3200" b="1" dirty="0">
                <a:solidFill>
                  <a:srgbClr val="0000FF"/>
                </a:solidFill>
              </a:rPr>
              <a:t>. či </a:t>
            </a:r>
            <a:r>
              <a:rPr lang="cs-CZ" sz="3200" b="1" dirty="0" smtClean="0">
                <a:solidFill>
                  <a:srgbClr val="0000FF"/>
                </a:solidFill>
              </a:rPr>
              <a:t>17.5</a:t>
            </a:r>
            <a:r>
              <a:rPr lang="cs-CZ" sz="3200" b="1" dirty="0">
                <a:solidFill>
                  <a:srgbClr val="0000FF"/>
                </a:solidFill>
              </a:rPr>
              <a:t>. se na vývoji epidemie neprojevilo, situace začíná být stabilní. Pokud i další kroky budou pozvolné a uvážené, lze </a:t>
            </a:r>
          </a:p>
          <a:p>
            <a:pPr lvl="0" algn="ctr">
              <a:defRPr/>
            </a:pPr>
            <a:r>
              <a:rPr lang="cs-CZ" sz="3200" b="1" dirty="0">
                <a:solidFill>
                  <a:srgbClr val="0000FF"/>
                </a:solidFill>
              </a:rPr>
              <a:t>i v důsledku postupující vakcinace očekávat, že 7denní počet nově potvrzených případů bude dále významně klesat. </a:t>
            </a:r>
          </a:p>
        </p:txBody>
      </p:sp>
      <p:sp>
        <p:nvSpPr>
          <p:cNvPr id="6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142875" y="147236"/>
            <a:ext cx="11963400" cy="187552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irová zátěž všech regionů klesá a rovněž pro další období lze očekávat pokles, který bude dále umocňován postupujícím očkováním. </a:t>
            </a:r>
          </a:p>
        </p:txBody>
      </p:sp>
      <p:sp>
        <p:nvSpPr>
          <p:cNvPr id="5" name="Šipka dolů 4"/>
          <p:cNvSpPr/>
          <p:nvPr/>
        </p:nvSpPr>
        <p:spPr>
          <a:xfrm>
            <a:off x="5348719" y="2010823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Šipka dolů 7"/>
          <p:cNvSpPr/>
          <p:nvPr/>
        </p:nvSpPr>
        <p:spPr>
          <a:xfrm>
            <a:off x="5348719" y="5720476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1770928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Šipka dolů 1"/>
          <p:cNvSpPr/>
          <p:nvPr/>
        </p:nvSpPr>
        <p:spPr>
          <a:xfrm>
            <a:off x="5354594" y="1364949"/>
            <a:ext cx="1220245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Obdélník 2"/>
          <p:cNvSpPr/>
          <p:nvPr/>
        </p:nvSpPr>
        <p:spPr>
          <a:xfrm>
            <a:off x="325033" y="273574"/>
            <a:ext cx="11279368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ávající vývoj epidemie je velmi pozitivní, populační zátěž významně klesá a projevuje se již postupující vakcinace rizikových skupin obyvatel </a:t>
            </a:r>
            <a:endParaRPr kumimoji="0" lang="cs-CZ" sz="2600" b="0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Šipka dolů 4"/>
          <p:cNvSpPr/>
          <p:nvPr/>
        </p:nvSpPr>
        <p:spPr>
          <a:xfrm>
            <a:off x="5151249" y="6145868"/>
            <a:ext cx="1626932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Obdélník 3"/>
          <p:cNvSpPr/>
          <p:nvPr/>
        </p:nvSpPr>
        <p:spPr>
          <a:xfrm>
            <a:off x="390522" y="2284098"/>
            <a:ext cx="11148388" cy="36625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sng" strike="noStrike" kern="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učasný vývoj odpovídá velmi optimistickému scénáři</a:t>
            </a:r>
            <a:r>
              <a:rPr kumimoji="0" lang="cs-CZ" sz="2800" b="1" i="0" u="none" strike="noStrike" kern="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který předpokládal rychlé brždění epidemie odpovídající reprodukčnímu číslu cca </a:t>
            </a:r>
            <a:r>
              <a:rPr kumimoji="0" lang="cs-CZ" sz="2800" b="1" i="0" u="none" strike="noStrike" kern="0" cap="none" spc="0" normalizeH="0" baseline="0" noProof="0" dirty="0" smtClean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,7 - 0,8</a:t>
            </a:r>
            <a:r>
              <a:rPr kumimoji="0" lang="cs-CZ" sz="2800" b="1" i="0" u="none" strike="noStrike" kern="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posílenému o rychlý efekt postupující vakcinace (imunita dosažená již po 1. dávce vakcíny)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2800" b="1" kern="0" dirty="0">
              <a:solidFill>
                <a:srgbClr val="3333CC"/>
              </a:solidFill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2800" b="1" kern="0" dirty="0">
              <a:solidFill>
                <a:srgbClr val="3333CC"/>
              </a:solidFill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 dokládají i reálná data proložená při validaci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 modelu z 5.3. 2021</a:t>
            </a:r>
          </a:p>
        </p:txBody>
      </p:sp>
      <p:sp>
        <p:nvSpPr>
          <p:cNvPr id="7" name="Šipka dolů 6"/>
          <p:cNvSpPr/>
          <p:nvPr/>
        </p:nvSpPr>
        <p:spPr>
          <a:xfrm>
            <a:off x="5354593" y="4277802"/>
            <a:ext cx="1220245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4711701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B1276870-99EE-4D94-8977-D4A2442A6BFE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4405621"/>
              </p:ext>
            </p:extLst>
          </p:nvPr>
        </p:nvGraphicFramePr>
        <p:xfrm>
          <a:off x="556549" y="867747"/>
          <a:ext cx="11354940" cy="5955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en-US" dirty="0" err="1">
                <a:latin typeface="+mj-lt"/>
              </a:rPr>
              <a:t>Modelov</a:t>
            </a:r>
            <a:r>
              <a:rPr lang="cs-CZ" dirty="0">
                <a:latin typeface="+mj-lt"/>
              </a:rPr>
              <a:t>é scénáře: </a:t>
            </a:r>
            <a:r>
              <a:rPr lang="cs-CZ" dirty="0" err="1">
                <a:latin typeface="+mj-lt"/>
              </a:rPr>
              <a:t>7denní</a:t>
            </a:r>
            <a:r>
              <a:rPr lang="cs-CZ" dirty="0">
                <a:latin typeface="+mj-lt"/>
              </a:rPr>
              <a:t> hodnoty na 100 tisíc obyvatel</a:t>
            </a: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3C9B186B-8163-428B-A364-E90D3144B57D}"/>
              </a:ext>
            </a:extLst>
          </p:cNvPr>
          <p:cNvSpPr/>
          <p:nvPr/>
        </p:nvSpPr>
        <p:spPr>
          <a:xfrm>
            <a:off x="5485644" y="1173002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35669B2F-D612-4664-B709-53D98132D57A}"/>
              </a:ext>
            </a:extLst>
          </p:cNvPr>
          <p:cNvSpPr txBox="1"/>
          <p:nvPr/>
        </p:nvSpPr>
        <p:spPr>
          <a:xfrm>
            <a:off x="5782825" y="1121195"/>
            <a:ext cx="15734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álná data z IS IN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7DE1342D-EB8B-4B07-AF76-9D71853830EC}"/>
              </a:ext>
            </a:extLst>
          </p:cNvPr>
          <p:cNvSpPr txBox="1"/>
          <p:nvPr/>
        </p:nvSpPr>
        <p:spPr>
          <a:xfrm>
            <a:off x="2191937" y="1022638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5</a:t>
            </a:r>
          </a:p>
        </p:txBody>
      </p: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E4706C2C-C343-4CD4-BC4A-ED6979CFCE85}"/>
              </a:ext>
            </a:extLst>
          </p:cNvPr>
          <p:cNvCxnSpPr>
            <a:cxnSpLocks/>
          </p:cNvCxnSpPr>
          <p:nvPr/>
        </p:nvCxnSpPr>
        <p:spPr>
          <a:xfrm>
            <a:off x="1897192" y="1175760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095375A6-BA75-44A5-A84A-36A5A097F6F7}"/>
              </a:ext>
            </a:extLst>
          </p:cNvPr>
          <p:cNvSpPr txBox="1"/>
          <p:nvPr/>
        </p:nvSpPr>
        <p:spPr>
          <a:xfrm>
            <a:off x="2191937" y="1247858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85</a:t>
            </a:r>
          </a:p>
        </p:txBody>
      </p:sp>
      <p:cxnSp>
        <p:nvCxnSpPr>
          <p:cNvPr id="23" name="Přímá spojnice 22">
            <a:extLst>
              <a:ext uri="{FF2B5EF4-FFF2-40B4-BE49-F238E27FC236}">
                <a16:creationId xmlns:a16="http://schemas.microsoft.com/office/drawing/2014/main" id="{AB76497E-F494-41CE-B6CE-8CEE02B36A8F}"/>
              </a:ext>
            </a:extLst>
          </p:cNvPr>
          <p:cNvCxnSpPr>
            <a:cxnSpLocks/>
          </p:cNvCxnSpPr>
          <p:nvPr/>
        </p:nvCxnSpPr>
        <p:spPr>
          <a:xfrm>
            <a:off x="1897192" y="1399067"/>
            <a:ext cx="237744" cy="0"/>
          </a:xfrm>
          <a:prstGeom prst="line">
            <a:avLst/>
          </a:prstGeom>
          <a:ln w="38100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24">
            <a:extLst>
              <a:ext uri="{FF2B5EF4-FFF2-40B4-BE49-F238E27FC236}">
                <a16:creationId xmlns:a16="http://schemas.microsoft.com/office/drawing/2014/main" id="{E453CAE8-274D-40EB-837F-1DFE06B3FC2E}"/>
              </a:ext>
            </a:extLst>
          </p:cNvPr>
          <p:cNvCxnSpPr>
            <a:cxnSpLocks/>
          </p:cNvCxnSpPr>
          <p:nvPr/>
        </p:nvCxnSpPr>
        <p:spPr>
          <a:xfrm>
            <a:off x="1897192" y="1622373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266137AA-9182-40A3-A142-5179882050AD}"/>
              </a:ext>
            </a:extLst>
          </p:cNvPr>
          <p:cNvSpPr txBox="1"/>
          <p:nvPr/>
        </p:nvSpPr>
        <p:spPr>
          <a:xfrm>
            <a:off x="2184080" y="1473077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7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27. 4. 2021)</a:t>
            </a:r>
          </a:p>
        </p:txBody>
      </p:sp>
      <p:sp>
        <p:nvSpPr>
          <p:cNvPr id="30" name="TextBox 6">
            <a:extLst>
              <a:ext uri="{FF2B5EF4-FFF2-40B4-BE49-F238E27FC236}">
                <a16:creationId xmlns:a16="http://schemas.microsoft.com/office/drawing/2014/main" id="{8B058FAD-246D-4FB5-9A38-9461A45D5931}"/>
              </a:ext>
            </a:extLst>
          </p:cNvPr>
          <p:cNvSpPr txBox="1"/>
          <p:nvPr/>
        </p:nvSpPr>
        <p:spPr>
          <a:xfrm rot="16200000">
            <a:off x="-1483263" y="3360473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31" name="TextovéPole 30">
            <a:extLst>
              <a:ext uri="{FF2B5EF4-FFF2-40B4-BE49-F238E27FC236}">
                <a16:creationId xmlns:a16="http://schemas.microsoft.com/office/drawing/2014/main" id="{D97E0517-3EC9-44C6-B315-D6D19D4240FA}"/>
              </a:ext>
            </a:extLst>
          </p:cNvPr>
          <p:cNvSpPr txBox="1"/>
          <p:nvPr/>
        </p:nvSpPr>
        <p:spPr>
          <a:xfrm>
            <a:off x="228000" y="6363777"/>
            <a:ext cx="1173470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delované hodnoty byly korigovány, aby odpovídaly celotýdenním hodnotám, včetně volných dnů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(82 % pr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ůměrné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hodnoty v pracovních dnech).</a:t>
            </a: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079DCD2B-EC27-47E9-B6A4-F6F1F3F1E16B}"/>
              </a:ext>
            </a:extLst>
          </p:cNvPr>
          <p:cNvSpPr txBox="1"/>
          <p:nvPr/>
        </p:nvSpPr>
        <p:spPr>
          <a:xfrm>
            <a:off x="11525360" y="4820098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30FE691E-C2BD-4B30-A169-AABD4604D046}"/>
              </a:ext>
            </a:extLst>
          </p:cNvPr>
          <p:cNvSpPr txBox="1"/>
          <p:nvPr/>
        </p:nvSpPr>
        <p:spPr>
          <a:xfrm>
            <a:off x="11525360" y="5242445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5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ECB5EFCC-D0F1-494C-9551-8227F8750606}"/>
              </a:ext>
            </a:extLst>
          </p:cNvPr>
          <p:cNvSpPr txBox="1"/>
          <p:nvPr/>
        </p:nvSpPr>
        <p:spPr>
          <a:xfrm>
            <a:off x="10034632" y="964282"/>
            <a:ext cx="1945049" cy="118494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. 6. 2021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7denní 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m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počet na 100 tis.)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24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100 tisíc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17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100 tisíc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5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100 tisíc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5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100 tisíc</a:t>
            </a: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CF9D18DF-5F8D-4144-AF44-4F3BB83E5008}"/>
              </a:ext>
            </a:extLst>
          </p:cNvPr>
          <p:cNvSpPr txBox="1"/>
          <p:nvPr/>
        </p:nvSpPr>
        <p:spPr>
          <a:xfrm>
            <a:off x="7944179" y="964282"/>
            <a:ext cx="1945048" cy="118494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5. 5. 2021 </a:t>
            </a:r>
            <a:b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7denní 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m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počet na 100 tis.)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18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100 tisíc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9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100 tisíc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100 tisíc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9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100 tisíc</a:t>
            </a:r>
          </a:p>
        </p:txBody>
      </p:sp>
      <p:sp>
        <p:nvSpPr>
          <p:cNvPr id="4" name="TextovéPole 3"/>
          <p:cNvSpPr txBox="1"/>
          <p:nvPr/>
        </p:nvSpPr>
        <p:spPr>
          <a:xfrm>
            <a:off x="8458859" y="576002"/>
            <a:ext cx="29732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é hodnoty </a:t>
            </a:r>
          </a:p>
        </p:txBody>
      </p:sp>
      <p:sp>
        <p:nvSpPr>
          <p:cNvPr id="24" name="TextovéPole 23"/>
          <p:cNvSpPr txBox="1"/>
          <p:nvPr/>
        </p:nvSpPr>
        <p:spPr>
          <a:xfrm>
            <a:off x="5782825" y="2757913"/>
            <a:ext cx="592801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</a:rPr>
              <a:t>Dle stávajícího trendu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</a:rPr>
              <a:t>bude pokles virové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</a:rPr>
              <a:t>zátěže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</a:rPr>
              <a:t>populace pokračovat i v první polovině</a:t>
            </a:r>
            <a:r>
              <a:rPr kumimoji="0" lang="cs-CZ" sz="2000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</a:rPr>
              <a:t> června.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17009439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ovéPole 18"/>
          <p:cNvSpPr txBox="1"/>
          <p:nvPr/>
        </p:nvSpPr>
        <p:spPr>
          <a:xfrm>
            <a:off x="132777" y="210275"/>
            <a:ext cx="11884914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louhodobější predikce vývoje zátěže nemocnic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zdravotních dopadů</a:t>
            </a:r>
          </a:p>
        </p:txBody>
      </p:sp>
      <p:sp>
        <p:nvSpPr>
          <p:cNvPr id="5" name="Šipka dolů 4"/>
          <p:cNvSpPr/>
          <p:nvPr/>
        </p:nvSpPr>
        <p:spPr>
          <a:xfrm>
            <a:off x="5119203" y="1427122"/>
            <a:ext cx="1640138" cy="455724"/>
          </a:xfrm>
          <a:prstGeom prst="downArrow">
            <a:avLst/>
          </a:prstGeom>
          <a:solidFill>
            <a:srgbClr val="305983"/>
          </a:solidFill>
          <a:ln w="12700" cap="flat" cmpd="sng" algn="ctr">
            <a:solidFill>
              <a:srgbClr val="305983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Obdélník 12"/>
          <p:cNvSpPr/>
          <p:nvPr/>
        </p:nvSpPr>
        <p:spPr>
          <a:xfrm>
            <a:off x="328478" y="1999582"/>
            <a:ext cx="11221588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lativně optimistické scénáře se v čase naplnily a epidemie začala na populační úrovni významně zpomalovat již v 1. polovině března. Pozitivní dopad na zátěž nemocnic avšak nastal až po 15. březnu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2800" b="1" kern="0" dirty="0">
              <a:solidFill>
                <a:srgbClr val="0000FF"/>
              </a:solidFill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dely z 5.3. jsou nadále funkční a predikce rychlého poklesu zátěže se shodují s realitou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800" b="1" i="0" u="none" strike="noStrike" kern="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dely byly nově doplněny o předpokládaný efekt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kcinace </a:t>
            </a:r>
            <a:r>
              <a:rPr kumimoji="0" lang="cs-CZ" sz="2800" b="1" i="0" u="none" strike="noStrike" kern="0" cap="none" spc="0" normalizeH="0" baseline="0" noProof="0" dirty="0" err="1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niorních</a:t>
            </a:r>
            <a:r>
              <a:rPr kumimoji="0" lang="cs-CZ" sz="2800" b="1" i="0" u="none" strike="noStrike" kern="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kupin. </a:t>
            </a:r>
          </a:p>
        </p:txBody>
      </p:sp>
      <p:sp>
        <p:nvSpPr>
          <p:cNvPr id="7" name="Šipka dolů 6"/>
          <p:cNvSpPr/>
          <p:nvPr/>
        </p:nvSpPr>
        <p:spPr>
          <a:xfrm>
            <a:off x="5119203" y="6140682"/>
            <a:ext cx="1640138" cy="455724"/>
          </a:xfrm>
          <a:prstGeom prst="downArrow">
            <a:avLst/>
          </a:prstGeom>
          <a:solidFill>
            <a:srgbClr val="305983"/>
          </a:solidFill>
          <a:ln w="12700" cap="flat" cmpd="sng" algn="ctr">
            <a:solidFill>
              <a:srgbClr val="305983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289160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ovéPole 13">
            <a:extLst>
              <a:ext uri="{FF2B5EF4-FFF2-40B4-BE49-F238E27FC236}">
                <a16:creationId xmlns:a16="http://schemas.microsoft.com/office/drawing/2014/main" id="{7C764D1A-68C2-47CF-9E50-A28EB0F2ED2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432105" y="33126"/>
            <a:ext cx="1134427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ě nakažených potenciálně zranitelných pacientů </a:t>
            </a:r>
            <a:r>
              <a:rPr kumimoji="0" lang="cs-CZ" sz="3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ýznamně klesá. Zásadní podíl na tomto trendu má postupující vakcinace. </a:t>
            </a:r>
            <a:endParaRPr kumimoji="0" lang="cs-CZ" sz="3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7" name="Chart 4">
            <a:extLst>
              <a:ext uri="{FF2B5EF4-FFF2-40B4-BE49-F238E27FC236}">
                <a16:creationId xmlns:a16="http://schemas.microsoft.com/office/drawing/2014/main" id="{833A5CE7-EFE4-4FF9-8B90-B0FD849FE35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81696592"/>
              </p:ext>
            </p:extLst>
          </p:nvPr>
        </p:nvGraphicFramePr>
        <p:xfrm>
          <a:off x="95247" y="2824205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9" name="TextovéPole 8">
            <a:extLst>
              <a:ext uri="{FF2B5EF4-FFF2-40B4-BE49-F238E27FC236}">
                <a16:creationId xmlns:a16="http://schemas.microsoft.com/office/drawing/2014/main" id="{CB45B59F-8A81-4DD2-B8A6-842CB8B659F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704039" y="2011966"/>
            <a:ext cx="2362704" cy="830997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pulace seniorů 65+ let</a:t>
            </a:r>
          </a:p>
        </p:txBody>
      </p:sp>
      <p:graphicFrame>
        <p:nvGraphicFramePr>
          <p:cNvPr id="10" name="Tabulka 3">
            <a:extLst>
              <a:ext uri="{FF2B5EF4-FFF2-40B4-BE49-F238E27FC236}">
                <a16:creationId xmlns:a16="http://schemas.microsoft.com/office/drawing/2014/main" id="{337E5A45-4542-434C-868B-F5F3A0A9E0F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48291711"/>
              </p:ext>
            </p:extLst>
          </p:nvPr>
        </p:nvGraphicFramePr>
        <p:xfrm>
          <a:off x="4539343" y="1318755"/>
          <a:ext cx="6646969" cy="22174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39983">
                  <a:extLst>
                    <a:ext uri="{9D8B030D-6E8A-4147-A177-3AD203B41FA5}">
                      <a16:colId xmlns:a16="http://schemas.microsoft.com/office/drawing/2014/main" val="653187899"/>
                    </a:ext>
                  </a:extLst>
                </a:gridCol>
                <a:gridCol w="2306986">
                  <a:extLst>
                    <a:ext uri="{9D8B030D-6E8A-4147-A177-3AD203B41FA5}">
                      <a16:colId xmlns:a16="http://schemas.microsoft.com/office/drawing/2014/main" val="3486415745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pPr marL="914400" marR="0" lvl="2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3000" b="1" u="sng">
                          <a:solidFill>
                            <a:srgbClr val="C00000"/>
                          </a:solidFill>
                          <a:latin typeface="+mn-lt"/>
                        </a:rPr>
                        <a:t>Nově diagnostikovaní ve věku 65+</a:t>
                      </a:r>
                      <a:endParaRPr lang="cs-CZ" sz="3000" b="1" u="sng" dirty="0">
                        <a:solidFill>
                          <a:srgbClr val="C00000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3600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86166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 uplynulé 3 dny: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82939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 uplynulých 7 dní: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345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88340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 uplynulých 14 dní: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912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074178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3292885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ovéPole 13">
            <a:extLst>
              <a:ext uri="{FF2B5EF4-FFF2-40B4-BE49-F238E27FC236}">
                <a16:creationId xmlns:a16="http://schemas.microsoft.com/office/drawing/2014/main" id="{7C764D1A-68C2-47CF-9E50-A28EB0F2ED2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432105" y="33126"/>
            <a:ext cx="1134427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ě nakažených potenciálně zranitelných pacientů </a:t>
            </a:r>
            <a:r>
              <a:rPr kumimoji="0" lang="cs-CZ" sz="3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ýznamně klesá. Zásadní podíl na tomto trendu má postupující vakcinace. </a:t>
            </a:r>
            <a:endParaRPr kumimoji="0" lang="cs-CZ" sz="3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6" name="Chart 4">
            <a:extLst>
              <a:ext uri="{FF2B5EF4-FFF2-40B4-BE49-F238E27FC236}">
                <a16:creationId xmlns:a16="http://schemas.microsoft.com/office/drawing/2014/main" id="{9AF1149A-F1B9-4CB9-B9E4-22E79827FFC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90354068"/>
              </p:ext>
            </p:extLst>
          </p:nvPr>
        </p:nvGraphicFramePr>
        <p:xfrm>
          <a:off x="95247" y="2824205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TextovéPole 7">
            <a:extLst>
              <a:ext uri="{FF2B5EF4-FFF2-40B4-BE49-F238E27FC236}">
                <a16:creationId xmlns:a16="http://schemas.microsoft.com/office/drawing/2014/main" id="{757E2A2A-AB0C-4E9F-9905-4436AE58ACB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765162" y="1993208"/>
            <a:ext cx="2362704" cy="830997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opulace seniorů 75+ let</a:t>
            </a:r>
          </a:p>
        </p:txBody>
      </p:sp>
      <p:graphicFrame>
        <p:nvGraphicFramePr>
          <p:cNvPr id="11" name="Tabulka 3">
            <a:extLst>
              <a:ext uri="{FF2B5EF4-FFF2-40B4-BE49-F238E27FC236}">
                <a16:creationId xmlns:a16="http://schemas.microsoft.com/office/drawing/2014/main" id="{14F2A738-CC52-40AE-8528-8EE299D445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26888117"/>
              </p:ext>
            </p:extLst>
          </p:nvPr>
        </p:nvGraphicFramePr>
        <p:xfrm>
          <a:off x="4604657" y="1318755"/>
          <a:ext cx="6581655" cy="22174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97338">
                  <a:extLst>
                    <a:ext uri="{9D8B030D-6E8A-4147-A177-3AD203B41FA5}">
                      <a16:colId xmlns:a16="http://schemas.microsoft.com/office/drawing/2014/main" val="653187899"/>
                    </a:ext>
                  </a:extLst>
                </a:gridCol>
                <a:gridCol w="2284317">
                  <a:extLst>
                    <a:ext uri="{9D8B030D-6E8A-4147-A177-3AD203B41FA5}">
                      <a16:colId xmlns:a16="http://schemas.microsoft.com/office/drawing/2014/main" val="3486415745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pPr marL="914400" marR="0" lvl="2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3000" b="1" u="sng">
                          <a:solidFill>
                            <a:srgbClr val="C00000"/>
                          </a:solidFill>
                          <a:latin typeface="+mn-lt"/>
                        </a:rPr>
                        <a:t>Nově diagnostikovaní ve věku 75+</a:t>
                      </a:r>
                      <a:endParaRPr lang="cs-CZ" sz="3000" b="1" u="sng" dirty="0">
                        <a:solidFill>
                          <a:srgbClr val="C00000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3600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86166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 uplynulé 3 dny: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82939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 uplynulých 7 dní: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45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88340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 uplynulých 14 dní: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387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074178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9239458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able 33">
            <a:extLst>
              <a:ext uri="{FF2B5EF4-FFF2-40B4-BE49-F238E27FC236}">
                <a16:creationId xmlns:a16="http://schemas.microsoft.com/office/drawing/2014/main" id="{AA9D92F9-50C1-47F3-BF42-AA91CE0FDBF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13143760"/>
              </p:ext>
            </p:extLst>
          </p:nvPr>
        </p:nvGraphicFramePr>
        <p:xfrm>
          <a:off x="838200" y="3088673"/>
          <a:ext cx="9064944" cy="3505200"/>
        </p:xfrm>
        <a:graphic>
          <a:graphicData uri="http://schemas.openxmlformats.org/drawingml/2006/table">
            <a:tbl>
              <a:tblPr/>
              <a:tblGrid>
                <a:gridCol w="7173873">
                  <a:extLst>
                    <a:ext uri="{9D8B030D-6E8A-4147-A177-3AD203B41FA5}">
                      <a16:colId xmlns:a16="http://schemas.microsoft.com/office/drawing/2014/main" val="1918387992"/>
                    </a:ext>
                  </a:extLst>
                </a:gridCol>
                <a:gridCol w="1891071">
                  <a:extLst>
                    <a:ext uri="{9D8B030D-6E8A-4147-A177-3AD203B41FA5}">
                      <a16:colId xmlns:a16="http://schemas.microsoft.com/office/drawing/2014/main" val="1639439843"/>
                    </a:ext>
                  </a:extLst>
                </a:gridCol>
              </a:tblGrid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 v nemocnici:</a:t>
                      </a:r>
                      <a:endParaRPr lang="cs-CZ" sz="57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491</a:t>
                      </a:r>
                      <a:endParaRPr lang="cs-CZ" sz="5700" b="0" i="0" u="none" strike="noStrike" baseline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79789772"/>
                  </a:ext>
                </a:extLst>
              </a:tr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JIP:</a:t>
                      </a:r>
                      <a:endParaRPr lang="cs-CZ" sz="57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  <a:endParaRPr lang="cs-CZ" sz="5700" b="0" i="0" u="none" strike="noStrike" baseline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1122535"/>
                  </a:ext>
                </a:extLst>
              </a:tr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UPV:</a:t>
                      </a:r>
                      <a:endParaRPr lang="cs-CZ" sz="57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  <a:endParaRPr lang="cs-CZ" sz="5700" b="0" i="0" u="none" strike="noStrike" baseline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32193534"/>
                  </a:ext>
                </a:extLst>
              </a:tr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ECMO:</a:t>
                      </a:r>
                      <a:endParaRPr lang="cs-CZ" sz="57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92537972"/>
                  </a:ext>
                </a:extLst>
              </a:tr>
            </a:tbl>
          </a:graphicData>
        </a:graphic>
      </p:graphicFrame>
      <p:sp>
        <p:nvSpPr>
          <p:cNvPr id="35" name="Šipka dolů 1">
            <a:extLst>
              <a:ext uri="{FF2B5EF4-FFF2-40B4-BE49-F238E27FC236}">
                <a16:creationId xmlns:a16="http://schemas.microsoft.com/office/drawing/2014/main" id="{273E8147-1472-4BD2-B50D-7B3FC07C0A00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5144651" y="1892081"/>
            <a:ext cx="1588655" cy="785091"/>
          </a:xfrm>
          <a:prstGeom prst="downArrow">
            <a:avLst/>
          </a:prstGeom>
          <a:solidFill>
            <a:srgbClr val="30598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AFABE329-CC08-4062-8E80-53173DE0C38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677008" y="334108"/>
            <a:ext cx="1113106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ktuální </a:t>
            </a: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ty </a:t>
            </a:r>
            <a:r>
              <a:rPr kumimoji="0" lang="en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spitalizovaných</a:t>
            </a: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acientů klesají</a:t>
            </a:r>
            <a:b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roste i dostupná kapacita lůžek, včetně JIP</a:t>
            </a:r>
            <a:endParaRPr kumimoji="0" lang="cs-CZ" sz="4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" name="Šipka doprava 5">
            <a:extLst>
              <a:ext uri="{FF2B5EF4-FFF2-40B4-BE49-F238E27FC236}">
                <a16:creationId xmlns:a16="http://schemas.microsoft.com/office/drawing/2014/main" id="{8B605E19-8E0D-463F-BF24-B2B0E9C63CD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5400000">
            <a:off x="10031632" y="3369110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Šipka doprava 6">
            <a:extLst>
              <a:ext uri="{FF2B5EF4-FFF2-40B4-BE49-F238E27FC236}">
                <a16:creationId xmlns:a16="http://schemas.microsoft.com/office/drawing/2014/main" id="{D25A05A7-A807-4583-A277-C5FD37355EA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 rot="5400000">
            <a:off x="10031632" y="4224634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5" name="Šipka doprava 7">
            <a:extLst>
              <a:ext uri="{FF2B5EF4-FFF2-40B4-BE49-F238E27FC236}">
                <a16:creationId xmlns:a16="http://schemas.microsoft.com/office/drawing/2014/main" id="{6DB20091-CCBD-46D7-9A06-C1C750C62DAF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 rot="5400000">
            <a:off x="10031632" y="5084257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2" name="Tabulka 4">
            <a:extLst>
              <a:ext uri="{FF2B5EF4-FFF2-40B4-BE49-F238E27FC236}">
                <a16:creationId xmlns:a16="http://schemas.microsoft.com/office/drawing/2014/main" id="{FBE38244-841E-41A5-A81E-356428D6646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2886191"/>
              </p:ext>
            </p:extLst>
          </p:nvPr>
        </p:nvGraphicFramePr>
        <p:xfrm>
          <a:off x="7737231" y="2713132"/>
          <a:ext cx="3077308" cy="45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18846">
                  <a:extLst>
                    <a:ext uri="{9D8B030D-6E8A-4147-A177-3AD203B41FA5}">
                      <a16:colId xmlns:a16="http://schemas.microsoft.com/office/drawing/2014/main" val="3701563452"/>
                    </a:ext>
                  </a:extLst>
                </a:gridCol>
                <a:gridCol w="1758462">
                  <a:extLst>
                    <a:ext uri="{9D8B030D-6E8A-4147-A177-3AD203B41FA5}">
                      <a16:colId xmlns:a16="http://schemas.microsoft.com/office/drawing/2014/main" val="212158555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cs-CZ" sz="2400"/>
                        <a:t>Stav k</a:t>
                      </a:r>
                      <a:endParaRPr lang="cs-CZ" sz="24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0598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2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0.5.2021</a:t>
                      </a:r>
                      <a:endParaRPr lang="cs-CZ" sz="2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059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26571"/>
                  </a:ext>
                </a:extLst>
              </a:tr>
            </a:tbl>
          </a:graphicData>
        </a:graphic>
      </p:graphicFrame>
      <p:sp>
        <p:nvSpPr>
          <p:cNvPr id="10" name="Šipka doprava 7">
            <a:extLst>
              <a:ext uri="{FF2B5EF4-FFF2-40B4-BE49-F238E27FC236}">
                <a16:creationId xmlns:a16="http://schemas.microsoft.com/office/drawing/2014/main" id="{6DB20091-CCBD-46D7-9A06-C1C750C62DAF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 rot="5400000">
            <a:off x="10031632" y="5943880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7649561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14">
            <a:extLst>
              <a:ext uri="{FF2B5EF4-FFF2-40B4-BE49-F238E27FC236}">
                <a16:creationId xmlns:a16="http://schemas.microsoft.com/office/drawing/2014/main" id="{5A11BCFC-49AD-487D-BBB2-8BDDECE7C06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140141" y="4287824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 počet pacientů</a:t>
            </a:r>
          </a:p>
        </p:txBody>
      </p:sp>
      <p:sp>
        <p:nvSpPr>
          <p:cNvPr id="23" name="TextovéPole 22"/>
          <p:cNvSpPr txBox="1"/>
          <p:nvPr/>
        </p:nvSpPr>
        <p:spPr>
          <a:xfrm>
            <a:off x="381739" y="94911"/>
            <a:ext cx="1137535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týdenním srovnání počty hospitalizací </a:t>
            </a:r>
            <a:r>
              <a:rPr kumimoji="0" lang="en-US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</a:t>
            </a: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R </a:t>
            </a:r>
            <a:r>
              <a:rPr kumimoji="0" lang="cs-CZ" sz="30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lesají</a:t>
            </a:r>
          </a:p>
        </p:txBody>
      </p:sp>
      <p:sp>
        <p:nvSpPr>
          <p:cNvPr id="29" name="Zahnutá šipka nahoru 25">
            <a:extLst>
              <a:ext uri="{FF2B5EF4-FFF2-40B4-BE49-F238E27FC236}">
                <a16:creationId xmlns:a16="http://schemas.microsoft.com/office/drawing/2014/main" id="{77962815-283B-44A7-A845-1BB5AFDAE33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172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" name="Zahnutá šipka nahoru 25">
            <a:extLst>
              <a:ext uri="{FF2B5EF4-FFF2-40B4-BE49-F238E27FC236}">
                <a16:creationId xmlns:a16="http://schemas.microsoft.com/office/drawing/2014/main" id="{900DBD3A-25FF-44DB-9A70-41A63B98A098}"/>
              </a:ext>
            </a:extLst>
          </p:cNvPr>
          <p:cNvSpPr/>
          <p:nvPr/>
        </p:nvSpPr>
        <p:spPr>
          <a:xfrm>
            <a:off x="5116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Zahnutá šipka nahoru 25">
            <a:extLst>
              <a:ext uri="{FF2B5EF4-FFF2-40B4-BE49-F238E27FC236}">
                <a16:creationId xmlns:a16="http://schemas.microsoft.com/office/drawing/2014/main" id="{8BC9AE2D-ED68-40C1-9F08-DFCD52A3016B}"/>
              </a:ext>
            </a:extLst>
          </p:cNvPr>
          <p:cNvSpPr/>
          <p:nvPr/>
        </p:nvSpPr>
        <p:spPr>
          <a:xfrm>
            <a:off x="7086280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08D19FD2-8694-431A-B064-708B54BC4306}"/>
              </a:ext>
            </a:extLst>
          </p:cNvPr>
          <p:cNvGraphicFramePr/>
          <p:nvPr/>
        </p:nvGraphicFramePr>
        <p:xfrm>
          <a:off x="386622" y="1881553"/>
          <a:ext cx="11805378" cy="47593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pSp>
        <p:nvGrpSpPr>
          <p:cNvPr id="22" name="Skupina 21">
            <a:extLst>
              <a:ext uri="{FF2B5EF4-FFF2-40B4-BE49-F238E27FC236}">
                <a16:creationId xmlns:a16="http://schemas.microsoft.com/office/drawing/2014/main" id="{6893A30C-13C1-48B0-8E66-4452BB2AA16C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900377"/>
            <a:ext cx="1900937" cy="1908215"/>
            <a:chOff x="10258697" y="3526984"/>
            <a:chExt cx="1900937" cy="2050641"/>
          </a:xfrm>
        </p:grpSpPr>
        <p:cxnSp>
          <p:nvCxnSpPr>
            <p:cNvPr id="27" name="Přímá spojnice 26">
              <a:extLst>
                <a:ext uri="{FF2B5EF4-FFF2-40B4-BE49-F238E27FC236}">
                  <a16:creationId xmlns:a16="http://schemas.microsoft.com/office/drawing/2014/main" id="{BFB909AD-5289-44A3-B1F2-3B9234B8EE2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Přímá spojnice 38">
              <a:extLst>
                <a:ext uri="{FF2B5EF4-FFF2-40B4-BE49-F238E27FC236}">
                  <a16:creationId xmlns:a16="http://schemas.microsoft.com/office/drawing/2014/main" id="{BEA18967-C642-4BF3-B34F-32EEB41C015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Obdélník 39">
              <a:extLst>
                <a:ext uri="{FF2B5EF4-FFF2-40B4-BE49-F238E27FC236}">
                  <a16:creationId xmlns:a16="http://schemas.microsoft.com/office/drawing/2014/main" id="{21846B38-EB34-4DB8-A436-D436168812D1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TextovéPole 28">
              <a:extLst>
                <a:ext uri="{FF2B5EF4-FFF2-40B4-BE49-F238E27FC236}">
                  <a16:creationId xmlns:a16="http://schemas.microsoft.com/office/drawing/2014/main" id="{73BB0644-34DD-4DA4-BD0A-DF4A8CE2ED35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20506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</a:t>
              </a: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= 0,9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8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7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aximální počet pacientů s COVID-19 na lůžkách za období říjen/listopad 2020</a:t>
              </a:r>
              <a:endPara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42" name="Přímá spojnice 41">
              <a:extLst>
                <a:ext uri="{FF2B5EF4-FFF2-40B4-BE49-F238E27FC236}">
                  <a16:creationId xmlns:a16="http://schemas.microsoft.com/office/drawing/2014/main" id="{B9E18A0F-634C-4FB8-9C2E-7529D9949A6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Přímá spojnice 42">
              <a:extLst>
                <a:ext uri="{FF2B5EF4-FFF2-40B4-BE49-F238E27FC236}">
                  <a16:creationId xmlns:a16="http://schemas.microsoft.com/office/drawing/2014/main" id="{A2B38171-9386-487D-86F3-56F99584FA2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le 1">
            <a:extLst>
              <a:ext uri="{FF2B5EF4-FFF2-40B4-BE49-F238E27FC236}">
                <a16:creationId xmlns:a16="http://schemas.microsoft.com/office/drawing/2014/main" id="{F6F64958-9406-447B-995B-79D22D94A80C}"/>
              </a:ext>
            </a:extLst>
          </p:cNvPr>
          <p:cNvGraphicFramePr>
            <a:graphicFrameLocks noGrp="1"/>
          </p:cNvGraphicFramePr>
          <p:nvPr/>
        </p:nvGraphicFramePr>
        <p:xfrm>
          <a:off x="1019853" y="679650"/>
          <a:ext cx="10357393" cy="1334332"/>
        </p:xfrm>
        <a:graphic>
          <a:graphicData uri="http://schemas.openxmlformats.org/drawingml/2006/table">
            <a:tbl>
              <a:tblPr/>
              <a:tblGrid>
                <a:gridCol w="876125">
                  <a:extLst>
                    <a:ext uri="{9D8B030D-6E8A-4147-A177-3AD203B41FA5}">
                      <a16:colId xmlns:a16="http://schemas.microsoft.com/office/drawing/2014/main" val="48520255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833894502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339390954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442937595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10058184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681172455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25789837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80954013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762303921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930652356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5881896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93819322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183149112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05748127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8473100"/>
                    </a:ext>
                  </a:extLst>
                </a:gridCol>
              </a:tblGrid>
              <a:tr h="318119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1767095"/>
                  </a:ext>
                </a:extLst>
              </a:tr>
              <a:tr h="318119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4. 4.–30. 4.</a:t>
                      </a:r>
                      <a:endParaRPr lang="cs-CZ" sz="1600" b="1" i="0" u="sng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. 5.–7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. 5.–14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5. 5.–21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2. 5.–28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305143"/>
                  </a:ext>
                </a:extLst>
              </a:tr>
              <a:tr h="353465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35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99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67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12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3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5466746"/>
                  </a:ext>
                </a:extLst>
              </a:tr>
              <a:tr h="344629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1,0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6,3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1,4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6,2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8661907"/>
                  </a:ext>
                </a:extLst>
              </a:tr>
            </a:tbl>
          </a:graphicData>
        </a:graphic>
      </p:graphicFrame>
      <p:sp>
        <p:nvSpPr>
          <p:cNvPr id="44" name="TextBox 9">
            <a:extLst>
              <a:ext uri="{FF2B5EF4-FFF2-40B4-BE49-F238E27FC236}">
                <a16:creationId xmlns:a16="http://schemas.microsoft.com/office/drawing/2014/main" id="{A7EDDDB3-60FE-4BF3-AD6E-EC4DF377ACB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84777" y="3305908"/>
            <a:ext cx="1859196" cy="4708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154212525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Chart 4">
            <a:extLst>
              <a:ext uri="{FF2B5EF4-FFF2-40B4-BE49-F238E27FC236}">
                <a16:creationId xmlns:a16="http://schemas.microsoft.com/office/drawing/2014/main" id="{46EFD5D5-E2B4-4082-B862-E88569B63F81}"/>
              </a:ext>
            </a:extLst>
          </p:cNvPr>
          <p:cNvGraphicFramePr/>
          <p:nvPr>
            <p:extLst/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0" name="Table 11">
            <a:extLst>
              <a:ext uri="{FF2B5EF4-FFF2-40B4-BE49-F238E27FC236}">
                <a16:creationId xmlns:a16="http://schemas.microsoft.com/office/drawing/2014/main" id="{AFE715F2-2501-49E4-8F9E-AD3FACC732CC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922214" y="631457"/>
          <a:ext cx="10328489" cy="3025897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  <a:endParaRPr lang="cs-CZ" sz="16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6. 4.–2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. 5.–9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0. 5.–16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7. 5.–23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4. 5.–30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54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46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89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2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6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4,7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9,6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4,6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6,0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6308715"/>
                  </a:ext>
                </a:extLst>
              </a:tr>
              <a:tr h="409445">
                <a:tc gridSpan="6">
                  <a:txBody>
                    <a:bodyPr/>
                    <a:lstStyle/>
                    <a:p>
                      <a:pPr algn="ctr" rtl="0" fontAlgn="ctr"/>
                      <a:r>
                        <a:rPr lang="cs-CZ" sz="20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ktuální odhad pro ČR: 0,7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2000" b="1" i="0" u="sng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55051437"/>
                  </a:ext>
                </a:extLst>
              </a:tr>
            </a:tbl>
          </a:graphicData>
        </a:graphic>
      </p:graphicFrame>
      <p:sp>
        <p:nvSpPr>
          <p:cNvPr id="13" name="Šipka doprava 58">
            <a:extLst>
              <a:ext uri="{FF2B5EF4-FFF2-40B4-BE49-F238E27FC236}">
                <a16:creationId xmlns:a16="http://schemas.microsoft.com/office/drawing/2014/main" id="{F4560E84-2F4A-4BEA-BD3C-44D5B82984B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697074" flipV="1">
            <a:off x="11145324" y="5037652"/>
            <a:ext cx="521883" cy="28115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970832" y="2130150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Zahnutá šipka nahoru 25">
            <a:extLst>
              <a:ext uri="{FF2B5EF4-FFF2-40B4-BE49-F238E27FC236}">
                <a16:creationId xmlns:a16="http://schemas.microsoft.com/office/drawing/2014/main" id="{B7104930-024A-4044-A0CF-2DE6C3BD7FC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172714" y="2130150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Zahnutá šipka nahoru 25">
            <a:extLst>
              <a:ext uri="{FF2B5EF4-FFF2-40B4-BE49-F238E27FC236}">
                <a16:creationId xmlns:a16="http://schemas.microsoft.com/office/drawing/2014/main" id="{A310F353-468A-478C-85AA-BAA4E17F262F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7374596" y="2130150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ů pozitivních diagnóz ukazuje na pokračující zpomalování epidemie</a:t>
            </a:r>
          </a:p>
        </p:txBody>
      </p:sp>
    </p:spTree>
    <p:extLst>
      <p:ext uri="{BB962C8B-B14F-4D97-AF65-F5344CB8AC3E}">
        <p14:creationId xmlns:p14="http://schemas.microsoft.com/office/powerpoint/2010/main" val="85849814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4">
            <a:extLst>
              <a:ext uri="{FF2B5EF4-FFF2-40B4-BE49-F238E27FC236}">
                <a16:creationId xmlns:a16="http://schemas.microsoft.com/office/drawing/2014/main" id="{4231A2FA-B47D-4C3D-8DDD-0F1ACD6C839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983075" y="3867155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 počet pacientů</a:t>
            </a:r>
            <a:b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žadujících intenzivní péči</a:t>
            </a:r>
          </a:p>
        </p:txBody>
      </p:sp>
      <p:sp>
        <p:nvSpPr>
          <p:cNvPr id="36" name="TextovéPole 35">
            <a:extLst>
              <a:ext uri="{FF2B5EF4-FFF2-40B4-BE49-F238E27FC236}">
                <a16:creationId xmlns:a16="http://schemas.microsoft.com/office/drawing/2014/main" id="{507D902C-D9A4-417A-909B-281157810E3B}"/>
              </a:ext>
            </a:extLst>
          </p:cNvPr>
          <p:cNvSpPr txBox="1"/>
          <p:nvPr/>
        </p:nvSpPr>
        <p:spPr>
          <a:xfrm>
            <a:off x="184727" y="12542"/>
            <a:ext cx="11797686" cy="538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týdenním srovnání počty hospitalizací na JIP v ČR </a:t>
            </a:r>
            <a:r>
              <a:rPr kumimoji="0" lang="cs-CZ" sz="28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esají</a:t>
            </a:r>
            <a:endParaRPr kumimoji="0" lang="cs-CZ" sz="2800" b="1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5D1CA4ED-3B54-4AF5-A724-D10A278B2BB4}"/>
              </a:ext>
            </a:extLst>
          </p:cNvPr>
          <p:cNvGraphicFramePr/>
          <p:nvPr/>
        </p:nvGraphicFramePr>
        <p:xfrm>
          <a:off x="557348" y="2233245"/>
          <a:ext cx="11634651" cy="43984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pSp>
        <p:nvGrpSpPr>
          <p:cNvPr id="21" name="Skupina 20">
            <a:extLst>
              <a:ext uri="{FF2B5EF4-FFF2-40B4-BE49-F238E27FC236}">
                <a16:creationId xmlns:a16="http://schemas.microsoft.com/office/drawing/2014/main" id="{B9467872-2E2D-483D-9051-248F9B679CDA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BA5D4EF8-791B-4AC7-95EC-26F641E5D80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AAF39631-D007-4DCC-BE9F-1756C7735EE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Obdélník 30">
              <a:extLst>
                <a:ext uri="{FF2B5EF4-FFF2-40B4-BE49-F238E27FC236}">
                  <a16:creationId xmlns:a16="http://schemas.microsoft.com/office/drawing/2014/main" id="{A948540E-6D40-49FE-B36C-8A36C14B109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TextovéPole 28">
              <a:extLst>
                <a:ext uri="{FF2B5EF4-FFF2-40B4-BE49-F238E27FC236}">
                  <a16:creationId xmlns:a16="http://schemas.microsoft.com/office/drawing/2014/main" id="{69C4313E-E871-45D7-A260-E9B39E1AF388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</a:t>
              </a: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= 0,9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8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7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aximální počet pacientů s COVID-19 na lůžkách za období říjen/listopad 2020</a:t>
              </a:r>
              <a:endPara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33" name="Přímá spojnice 32">
              <a:extLst>
                <a:ext uri="{FF2B5EF4-FFF2-40B4-BE49-F238E27FC236}">
                  <a16:creationId xmlns:a16="http://schemas.microsoft.com/office/drawing/2014/main" id="{237A5BB3-D390-4057-9107-0BFDE16D703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EB715DD8-1FB5-4345-AED7-D5983CB9355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5" name="Table 42">
            <a:extLst>
              <a:ext uri="{FF2B5EF4-FFF2-40B4-BE49-F238E27FC236}">
                <a16:creationId xmlns:a16="http://schemas.microsoft.com/office/drawing/2014/main" id="{030846E4-2F7D-473C-9BAD-8DB6233DF9BE}"/>
              </a:ext>
            </a:extLst>
          </p:cNvPr>
          <p:cNvGraphicFramePr>
            <a:graphicFrameLocks noGrp="1"/>
          </p:cNvGraphicFramePr>
          <p:nvPr/>
        </p:nvGraphicFramePr>
        <p:xfrm>
          <a:off x="1019853" y="679650"/>
          <a:ext cx="10357393" cy="1334332"/>
        </p:xfrm>
        <a:graphic>
          <a:graphicData uri="http://schemas.openxmlformats.org/drawingml/2006/table">
            <a:tbl>
              <a:tblPr/>
              <a:tblGrid>
                <a:gridCol w="876125">
                  <a:extLst>
                    <a:ext uri="{9D8B030D-6E8A-4147-A177-3AD203B41FA5}">
                      <a16:colId xmlns:a16="http://schemas.microsoft.com/office/drawing/2014/main" val="48520255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833894502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339390954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442937595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10058184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681172455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25789837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80954013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762303921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930652356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5881896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93819322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183149112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05748127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8473100"/>
                    </a:ext>
                  </a:extLst>
                </a:gridCol>
              </a:tblGrid>
              <a:tr h="318119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1767095"/>
                  </a:ext>
                </a:extLst>
              </a:tr>
              <a:tr h="318119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4. 4.–30. 4.</a:t>
                      </a:r>
                      <a:endParaRPr lang="cs-CZ" sz="1600" b="1" i="0" u="sng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. 5.–7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. 5.–14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5. 5.–21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2. 5.–28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305143"/>
                  </a:ext>
                </a:extLst>
              </a:tr>
              <a:tr h="353465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2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7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2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3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4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5466746"/>
                  </a:ext>
                </a:extLst>
              </a:tr>
              <a:tr h="344629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5,3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4,2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2,9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7,6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8661907"/>
                  </a:ext>
                </a:extLst>
              </a:tr>
            </a:tbl>
          </a:graphicData>
        </a:graphic>
      </p:graphicFrame>
      <p:sp>
        <p:nvSpPr>
          <p:cNvPr id="44" name="Zahnutá šipka nahoru 25">
            <a:extLst>
              <a:ext uri="{FF2B5EF4-FFF2-40B4-BE49-F238E27FC236}">
                <a16:creationId xmlns:a16="http://schemas.microsoft.com/office/drawing/2014/main" id="{DD00329A-1C9A-46DB-B313-08A07865150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172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5" name="Zahnutá šipka nahoru 25">
            <a:extLst>
              <a:ext uri="{FF2B5EF4-FFF2-40B4-BE49-F238E27FC236}">
                <a16:creationId xmlns:a16="http://schemas.microsoft.com/office/drawing/2014/main" id="{D048DF33-1F93-4BCD-9CA7-BEB90F6D9964}"/>
              </a:ext>
            </a:extLst>
          </p:cNvPr>
          <p:cNvSpPr/>
          <p:nvPr/>
        </p:nvSpPr>
        <p:spPr>
          <a:xfrm>
            <a:off x="5116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6" name="Zahnutá šipka nahoru 25">
            <a:extLst>
              <a:ext uri="{FF2B5EF4-FFF2-40B4-BE49-F238E27FC236}">
                <a16:creationId xmlns:a16="http://schemas.microsoft.com/office/drawing/2014/main" id="{061772AD-B26D-41E1-8302-56FC079A1B0F}"/>
              </a:ext>
            </a:extLst>
          </p:cNvPr>
          <p:cNvSpPr/>
          <p:nvPr/>
        </p:nvSpPr>
        <p:spPr>
          <a:xfrm>
            <a:off x="7086280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7" name="TextBox 9">
            <a:extLst>
              <a:ext uri="{FF2B5EF4-FFF2-40B4-BE49-F238E27FC236}">
                <a16:creationId xmlns:a16="http://schemas.microsoft.com/office/drawing/2014/main" id="{81B9859D-FCC7-4B87-A5A4-E0A0318FD9E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84777" y="3305908"/>
            <a:ext cx="1859196" cy="4708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277212380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143346" y="3693109"/>
            <a:ext cx="11905307" cy="2317166"/>
          </a:xfrm>
        </p:spPr>
        <p:txBody>
          <a:bodyPr>
            <a:normAutofit/>
          </a:bodyPr>
          <a:lstStyle/>
          <a:p>
            <a:r>
              <a:rPr lang="cs-CZ" sz="4800" b="1" dirty="0"/>
              <a:t>Prováděné testy a jejich pozitivita</a:t>
            </a:r>
          </a:p>
        </p:txBody>
      </p:sp>
    </p:spTree>
    <p:extLst>
      <p:ext uri="{BB962C8B-B14F-4D97-AF65-F5344CB8AC3E}">
        <p14:creationId xmlns:p14="http://schemas.microsoft.com/office/powerpoint/2010/main" val="74709652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6371768" cy="576000"/>
          </a:xfrm>
        </p:spPr>
        <p:txBody>
          <a:bodyPr/>
          <a:lstStyle/>
          <a:p>
            <a:r>
              <a:rPr lang="cs-CZ" dirty="0"/>
              <a:t>Typologie pozitivních případů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9F65D85B-1235-470B-97CB-79FE65D6B769}"/>
              </a:ext>
            </a:extLst>
          </p:cNvPr>
          <p:cNvCxnSpPr/>
          <p:nvPr/>
        </p:nvCxnSpPr>
        <p:spPr>
          <a:xfrm>
            <a:off x="6053207" y="809564"/>
            <a:ext cx="11502" cy="470883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5" name="Table 5">
            <a:extLst>
              <a:ext uri="{FF2B5EF4-FFF2-40B4-BE49-F238E27FC236}">
                <a16:creationId xmlns:a16="http://schemas.microsoft.com/office/drawing/2014/main" id="{57BD4438-D12C-4857-BC4F-FFBF56596D3A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285832" y="547721"/>
          <a:ext cx="6043581" cy="5683390"/>
        </p:xfrm>
        <a:graphic>
          <a:graphicData uri="http://schemas.openxmlformats.org/drawingml/2006/table">
            <a:tbl>
              <a:tblPr/>
              <a:tblGrid>
                <a:gridCol w="741874">
                  <a:extLst>
                    <a:ext uri="{9D8B030D-6E8A-4147-A177-3AD203B41FA5}">
                      <a16:colId xmlns:a16="http://schemas.microsoft.com/office/drawing/2014/main" val="2010222896"/>
                    </a:ext>
                  </a:extLst>
                </a:gridCol>
                <a:gridCol w="269320">
                  <a:extLst>
                    <a:ext uri="{9D8B030D-6E8A-4147-A177-3AD203B41FA5}">
                      <a16:colId xmlns:a16="http://schemas.microsoft.com/office/drawing/2014/main" val="2380497939"/>
                    </a:ext>
                  </a:extLst>
                </a:gridCol>
                <a:gridCol w="179254">
                  <a:extLst>
                    <a:ext uri="{9D8B030D-6E8A-4147-A177-3AD203B41FA5}">
                      <a16:colId xmlns:a16="http://schemas.microsoft.com/office/drawing/2014/main" val="1368412751"/>
                    </a:ext>
                  </a:extLst>
                </a:gridCol>
                <a:gridCol w="4853133">
                  <a:extLst>
                    <a:ext uri="{9D8B030D-6E8A-4147-A177-3AD203B41FA5}">
                      <a16:colId xmlns:a16="http://schemas.microsoft.com/office/drawing/2014/main" val="2930962357"/>
                    </a:ext>
                  </a:extLst>
                </a:gridCol>
              </a:tblGrid>
              <a:tr h="568339">
                <a:tc gridSpan="4">
                  <a:txBody>
                    <a:bodyPr/>
                    <a:lstStyle/>
                    <a:p>
                      <a:pPr algn="l" fontAlgn="ctr"/>
                      <a:r>
                        <a:rPr lang="pt-BR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bdobí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4383480"/>
                  </a:ext>
                </a:extLst>
              </a:tr>
              <a:tr h="568339">
                <a:tc gridSpan="4"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05.2021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2700" cmpd="sng">
                      <a:noFill/>
                      <a:prstDash val="solid"/>
                    </a:lnL>
                    <a:lnT w="12700" cmpd="sng">
                      <a:noFill/>
                      <a:prstDash val="solid"/>
                    </a:lnT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785551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pt-BR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113 nově pozitivních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9 066 nově pozitivních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9935836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celkem N = 90 (79,6%)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PCR - celkem N = 7 725 (85,2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celkem N = 7 725 (85,2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8594139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PCR - symptomatičtí N = 4 618 (50,9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symptomatičtí N = 29 (25,7%)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139333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PCR - asymptomatičtí N = 3 107 (34,3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asymptomatičtí N = 61 (54,0%)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2604263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G - celkem N = 23 (20,4%)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AG - celkem N = 1 341 (14,8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9904605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de-DE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de-DE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G - symptomatičtí N = 18 (15,9%)</a:t>
                      </a:r>
                      <a:endParaRPr lang="de-DE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de-DE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6895331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G - asymptomatičtí konfirmovaní PCR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1276514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5 (4,4%)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1515522"/>
                  </a:ext>
                </a:extLst>
              </a:tr>
            </a:tbl>
          </a:graphicData>
        </a:graphic>
      </p:graphicFrame>
      <p:grpSp>
        <p:nvGrpSpPr>
          <p:cNvPr id="41" name="Skupina 40">
            <a:extLst>
              <a:ext uri="{FF2B5EF4-FFF2-40B4-BE49-F238E27FC236}">
                <a16:creationId xmlns:a16="http://schemas.microsoft.com/office/drawing/2014/main" id="{67E718B0-D805-4F0A-A2D9-973B2454D5CD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404159" y="1743959"/>
            <a:ext cx="920978" cy="3914685"/>
            <a:chOff x="404159" y="1866838"/>
            <a:chExt cx="920978" cy="3351365"/>
          </a:xfrm>
        </p:grpSpPr>
        <p:cxnSp>
          <p:nvCxnSpPr>
            <p:cNvPr id="47" name="Connector: Elbow 27">
              <a:extLst>
                <a:ext uri="{FF2B5EF4-FFF2-40B4-BE49-F238E27FC236}">
                  <a16:creationId xmlns:a16="http://schemas.microsoft.com/office/drawing/2014/main" id="{EE1BC2F1-8FA3-4CB7-A65D-01605921EF18}"/>
                </a:ext>
              </a:extLst>
            </p:cNvPr>
            <p:cNvCxnSpPr>
              <a:cxnSpLocks/>
              <a:stCxn id="57" idx="2"/>
              <a:endCxn id="60" idx="2"/>
            </p:cNvCxnSpPr>
            <p:nvPr>
              <p:custDataLst>
                <p:tags r:id="rId8"/>
              </p:custDataLst>
            </p:nvPr>
          </p:nvCxnSpPr>
          <p:spPr>
            <a:xfrm rot="10800000" flipH="1" flipV="1">
              <a:off x="404159" y="1920837"/>
              <a:ext cx="332076" cy="2154059"/>
            </a:xfrm>
            <a:prstGeom prst="bentConnector3">
              <a:avLst>
                <a:gd name="adj1" fmla="val -68840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Connector: Elbow 28">
              <a:extLst>
                <a:ext uri="{FF2B5EF4-FFF2-40B4-BE49-F238E27FC236}">
                  <a16:creationId xmlns:a16="http://schemas.microsoft.com/office/drawing/2014/main" id="{0A91E232-C7CE-4D15-916A-0461B3434166}"/>
                </a:ext>
              </a:extLst>
            </p:cNvPr>
            <p:cNvCxnSpPr>
              <a:cxnSpLocks/>
              <a:stCxn id="76" idx="2"/>
              <a:endCxn id="58" idx="2"/>
            </p:cNvCxnSpPr>
            <p:nvPr>
              <p:custDataLst>
                <p:tags r:id="rId9"/>
              </p:custDataLst>
            </p:nvPr>
          </p:nvCxnSpPr>
          <p:spPr>
            <a:xfrm rot="10800000" flipH="1" flipV="1">
              <a:off x="736235" y="2433231"/>
              <a:ext cx="480902" cy="553998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Connector: Elbow 29">
              <a:extLst>
                <a:ext uri="{FF2B5EF4-FFF2-40B4-BE49-F238E27FC236}">
                  <a16:creationId xmlns:a16="http://schemas.microsoft.com/office/drawing/2014/main" id="{51E69D21-290A-4C75-ABAF-6603101A1BDA}"/>
                </a:ext>
              </a:extLst>
            </p:cNvPr>
            <p:cNvCxnSpPr>
              <a:cxnSpLocks/>
              <a:stCxn id="76" idx="2"/>
              <a:endCxn id="59" idx="2"/>
            </p:cNvCxnSpPr>
            <p:nvPr/>
          </p:nvCxnSpPr>
          <p:spPr>
            <a:xfrm rot="10800000" flipH="1" flipV="1">
              <a:off x="736235" y="2433231"/>
              <a:ext cx="480902" cy="1097114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Connector: Elbow 30">
              <a:extLst>
                <a:ext uri="{FF2B5EF4-FFF2-40B4-BE49-F238E27FC236}">
                  <a16:creationId xmlns:a16="http://schemas.microsoft.com/office/drawing/2014/main" id="{D5A1B002-700B-428B-B6B2-7ABE2F7E2D5D}"/>
                </a:ext>
              </a:extLst>
            </p:cNvPr>
            <p:cNvCxnSpPr>
              <a:cxnSpLocks/>
              <a:stCxn id="60" idx="2"/>
              <a:endCxn id="74" idx="2"/>
            </p:cNvCxnSpPr>
            <p:nvPr/>
          </p:nvCxnSpPr>
          <p:spPr>
            <a:xfrm rot="10800000" flipH="1" flipV="1">
              <a:off x="736235" y="4074896"/>
              <a:ext cx="480902" cy="559153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Connector: Elbow 31">
              <a:extLst>
                <a:ext uri="{FF2B5EF4-FFF2-40B4-BE49-F238E27FC236}">
                  <a16:creationId xmlns:a16="http://schemas.microsoft.com/office/drawing/2014/main" id="{41840207-9B3F-46F3-A2A0-72EA1C5F95FC}"/>
                </a:ext>
              </a:extLst>
            </p:cNvPr>
            <p:cNvCxnSpPr>
              <a:cxnSpLocks/>
              <a:stCxn id="60" idx="2"/>
              <a:endCxn id="75" idx="2"/>
            </p:cNvCxnSpPr>
            <p:nvPr>
              <p:custDataLst>
                <p:tags r:id="rId10"/>
              </p:custDataLst>
            </p:nvPr>
          </p:nvCxnSpPr>
          <p:spPr>
            <a:xfrm rot="10800000" flipH="1" flipV="1">
              <a:off x="736235" y="4074897"/>
              <a:ext cx="480902" cy="1089306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Oval 7">
              <a:extLst>
                <a:ext uri="{FF2B5EF4-FFF2-40B4-BE49-F238E27FC236}">
                  <a16:creationId xmlns:a16="http://schemas.microsoft.com/office/drawing/2014/main" id="{DEFCBE29-8A8A-403F-87FC-6E964EECF435}"/>
                </a:ext>
              </a:extLst>
            </p:cNvPr>
            <p:cNvSpPr/>
            <p:nvPr/>
          </p:nvSpPr>
          <p:spPr>
            <a:xfrm>
              <a:off x="404159" y="1866838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8" name="Oval 36">
              <a:extLst>
                <a:ext uri="{FF2B5EF4-FFF2-40B4-BE49-F238E27FC236}">
                  <a16:creationId xmlns:a16="http://schemas.microsoft.com/office/drawing/2014/main" id="{EFB45541-6952-4AB8-8984-D4903D966A51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>
            <a:xfrm>
              <a:off x="1217137" y="2933229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9" name="Oval 37">
              <a:extLst>
                <a:ext uri="{FF2B5EF4-FFF2-40B4-BE49-F238E27FC236}">
                  <a16:creationId xmlns:a16="http://schemas.microsoft.com/office/drawing/2014/main" id="{2143FA77-D84E-4803-A4CF-57C6A2280DBC}"/>
                </a:ext>
              </a:extLst>
            </p:cNvPr>
            <p:cNvSpPr/>
            <p:nvPr/>
          </p:nvSpPr>
          <p:spPr>
            <a:xfrm>
              <a:off x="1217137" y="3476345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0" name="Oval 51">
              <a:extLst>
                <a:ext uri="{FF2B5EF4-FFF2-40B4-BE49-F238E27FC236}">
                  <a16:creationId xmlns:a16="http://schemas.microsoft.com/office/drawing/2014/main" id="{2C16C17A-1A40-4E38-8341-353E1F4A8244}"/>
                </a:ext>
              </a:extLst>
            </p:cNvPr>
            <p:cNvSpPr/>
            <p:nvPr/>
          </p:nvSpPr>
          <p:spPr>
            <a:xfrm>
              <a:off x="736235" y="4020897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4" name="Oval 52">
              <a:extLst>
                <a:ext uri="{FF2B5EF4-FFF2-40B4-BE49-F238E27FC236}">
                  <a16:creationId xmlns:a16="http://schemas.microsoft.com/office/drawing/2014/main" id="{A6EDEF7D-BF1B-4696-8813-4124510BFD1D}"/>
                </a:ext>
              </a:extLst>
            </p:cNvPr>
            <p:cNvSpPr/>
            <p:nvPr/>
          </p:nvSpPr>
          <p:spPr>
            <a:xfrm>
              <a:off x="1217137" y="4580050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5" name="Oval 53">
              <a:extLst>
                <a:ext uri="{FF2B5EF4-FFF2-40B4-BE49-F238E27FC236}">
                  <a16:creationId xmlns:a16="http://schemas.microsoft.com/office/drawing/2014/main" id="{43050E38-D6EA-4630-BC45-913F50C6A86D}"/>
                </a:ext>
              </a:extLst>
            </p:cNvPr>
            <p:cNvSpPr/>
            <p:nvPr/>
          </p:nvSpPr>
          <p:spPr>
            <a:xfrm>
              <a:off x="1217137" y="5110203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6" name="Oval 54">
              <a:extLst>
                <a:ext uri="{FF2B5EF4-FFF2-40B4-BE49-F238E27FC236}">
                  <a16:creationId xmlns:a16="http://schemas.microsoft.com/office/drawing/2014/main" id="{D8240F72-BDE6-4A9E-9A16-AC6F7259A476}"/>
                </a:ext>
              </a:extLst>
            </p:cNvPr>
            <p:cNvSpPr/>
            <p:nvPr/>
          </p:nvSpPr>
          <p:spPr>
            <a:xfrm>
              <a:off x="736235" y="2379231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cxnSp>
          <p:nvCxnSpPr>
            <p:cNvPr id="77" name="Connector: Elbow 55">
              <a:extLst>
                <a:ext uri="{FF2B5EF4-FFF2-40B4-BE49-F238E27FC236}">
                  <a16:creationId xmlns:a16="http://schemas.microsoft.com/office/drawing/2014/main" id="{A8588F7C-BDAF-43FA-851B-A355AA22B9BB}"/>
                </a:ext>
              </a:extLst>
            </p:cNvPr>
            <p:cNvCxnSpPr>
              <a:cxnSpLocks/>
              <a:stCxn id="57" idx="2"/>
              <a:endCxn id="76" idx="2"/>
            </p:cNvCxnSpPr>
            <p:nvPr>
              <p:custDataLst>
                <p:tags r:id="rId12"/>
              </p:custDataLst>
            </p:nvPr>
          </p:nvCxnSpPr>
          <p:spPr>
            <a:xfrm rot="10800000" flipH="1" flipV="1">
              <a:off x="404159" y="1920837"/>
              <a:ext cx="332076" cy="512393"/>
            </a:xfrm>
            <a:prstGeom prst="bentConnector3">
              <a:avLst>
                <a:gd name="adj1" fmla="val -68840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36" name="Table 5">
            <a:extLst>
              <a:ext uri="{FF2B5EF4-FFF2-40B4-BE49-F238E27FC236}">
                <a16:creationId xmlns:a16="http://schemas.microsoft.com/office/drawing/2014/main" id="{BB4087D4-6D22-4AB2-8597-EDFE9F92E90B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6312560" y="547721"/>
          <a:ext cx="5810430" cy="5683390"/>
        </p:xfrm>
        <a:graphic>
          <a:graphicData uri="http://schemas.openxmlformats.org/drawingml/2006/table">
            <a:tbl>
              <a:tblPr/>
              <a:tblGrid>
                <a:gridCol w="713254">
                  <a:extLst>
                    <a:ext uri="{9D8B030D-6E8A-4147-A177-3AD203B41FA5}">
                      <a16:colId xmlns:a16="http://schemas.microsoft.com/office/drawing/2014/main" val="2010222896"/>
                    </a:ext>
                  </a:extLst>
                </a:gridCol>
                <a:gridCol w="258930">
                  <a:extLst>
                    <a:ext uri="{9D8B030D-6E8A-4147-A177-3AD203B41FA5}">
                      <a16:colId xmlns:a16="http://schemas.microsoft.com/office/drawing/2014/main" val="2380497939"/>
                    </a:ext>
                  </a:extLst>
                </a:gridCol>
                <a:gridCol w="172339">
                  <a:extLst>
                    <a:ext uri="{9D8B030D-6E8A-4147-A177-3AD203B41FA5}">
                      <a16:colId xmlns:a16="http://schemas.microsoft.com/office/drawing/2014/main" val="1368412751"/>
                    </a:ext>
                  </a:extLst>
                </a:gridCol>
                <a:gridCol w="4665907">
                  <a:extLst>
                    <a:ext uri="{9D8B030D-6E8A-4147-A177-3AD203B41FA5}">
                      <a16:colId xmlns:a16="http://schemas.microsoft.com/office/drawing/2014/main" val="2930962357"/>
                    </a:ext>
                  </a:extLst>
                </a:gridCol>
              </a:tblGrid>
              <a:tr h="568339">
                <a:tc gridSpan="4">
                  <a:txBody>
                    <a:bodyPr/>
                    <a:lstStyle/>
                    <a:p>
                      <a:pPr algn="l" fontAlgn="ctr"/>
                      <a:r>
                        <a:rPr lang="pt-BR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bdobí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4383480"/>
                  </a:ext>
                </a:extLst>
              </a:tr>
              <a:tr h="568339">
                <a:tc gridSpan="4"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5.2021–30.5.2021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2700" cmpd="sng">
                      <a:noFill/>
                      <a:prstDash val="solid"/>
                    </a:lnL>
                    <a:lnT w="12700" cmpd="sng">
                      <a:noFill/>
                      <a:prstDash val="solid"/>
                    </a:lnT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785551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pt-BR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3 191 nově pozitivních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9 066 nově pozitivních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9935836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celkem N = 2 673 (83,8%)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PCR - celkem N = 7 725 (85,2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celkem N = 7 725 (85,2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8594139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PCR - symptomatičtí N = 4 618 (50,9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symptomatičtí N = 1 349 (42,3%)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139333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PCR - asymptomatičtí N = 3 107 (34,3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asymptomatičtí N = 1 324 (41,5%)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2604263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G - celkem N = 518 (16,2%)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AG - celkem N = 1 341 (14,8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9904605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de-DE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de-DE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G - symptomatičtí N = 268 (8,4%)</a:t>
                      </a:r>
                      <a:endParaRPr lang="de-DE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de-DE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6895331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G - asymptomatičtí konfirmovaní PCR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1276514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250 (7,8%)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1515522"/>
                  </a:ext>
                </a:extLst>
              </a:tr>
            </a:tbl>
          </a:graphicData>
        </a:graphic>
      </p:graphicFrame>
      <p:grpSp>
        <p:nvGrpSpPr>
          <p:cNvPr id="79" name="Skupina 78">
            <a:extLst>
              <a:ext uri="{FF2B5EF4-FFF2-40B4-BE49-F238E27FC236}">
                <a16:creationId xmlns:a16="http://schemas.microsoft.com/office/drawing/2014/main" id="{639E136A-D30A-4140-954C-C19293BC2CE9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430887" y="1743959"/>
            <a:ext cx="920978" cy="3914685"/>
            <a:chOff x="404159" y="1866838"/>
            <a:chExt cx="920978" cy="3351365"/>
          </a:xfrm>
        </p:grpSpPr>
        <p:cxnSp>
          <p:nvCxnSpPr>
            <p:cNvPr id="80" name="Connector: Elbow 27">
              <a:extLst>
                <a:ext uri="{FF2B5EF4-FFF2-40B4-BE49-F238E27FC236}">
                  <a16:creationId xmlns:a16="http://schemas.microsoft.com/office/drawing/2014/main" id="{91C1328B-5EC4-4984-AE54-D72529F04D8A}"/>
                </a:ext>
              </a:extLst>
            </p:cNvPr>
            <p:cNvCxnSpPr>
              <a:cxnSpLocks/>
              <a:stCxn id="85" idx="2"/>
              <a:endCxn id="88" idx="2"/>
            </p:cNvCxnSpPr>
            <p:nvPr>
              <p:custDataLst>
                <p:tags r:id="rId3"/>
              </p:custDataLst>
            </p:nvPr>
          </p:nvCxnSpPr>
          <p:spPr>
            <a:xfrm rot="10800000" flipH="1" flipV="1">
              <a:off x="404159" y="1920837"/>
              <a:ext cx="332076" cy="2154059"/>
            </a:xfrm>
            <a:prstGeom prst="bentConnector3">
              <a:avLst>
                <a:gd name="adj1" fmla="val -68840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Connector: Elbow 28">
              <a:extLst>
                <a:ext uri="{FF2B5EF4-FFF2-40B4-BE49-F238E27FC236}">
                  <a16:creationId xmlns:a16="http://schemas.microsoft.com/office/drawing/2014/main" id="{84806C24-63B6-4D79-8858-483C23BF3F1A}"/>
                </a:ext>
              </a:extLst>
            </p:cNvPr>
            <p:cNvCxnSpPr>
              <a:cxnSpLocks/>
              <a:stCxn id="91" idx="2"/>
              <a:endCxn id="86" idx="2"/>
            </p:cNvCxnSpPr>
            <p:nvPr>
              <p:custDataLst>
                <p:tags r:id="rId4"/>
              </p:custDataLst>
            </p:nvPr>
          </p:nvCxnSpPr>
          <p:spPr>
            <a:xfrm rot="10800000" flipH="1" flipV="1">
              <a:off x="736235" y="2433231"/>
              <a:ext cx="480902" cy="553998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Connector: Elbow 29">
              <a:extLst>
                <a:ext uri="{FF2B5EF4-FFF2-40B4-BE49-F238E27FC236}">
                  <a16:creationId xmlns:a16="http://schemas.microsoft.com/office/drawing/2014/main" id="{F1013AC1-B9AA-4FF4-8C53-5B9908B7853C}"/>
                </a:ext>
              </a:extLst>
            </p:cNvPr>
            <p:cNvCxnSpPr>
              <a:cxnSpLocks/>
              <a:stCxn id="91" idx="2"/>
              <a:endCxn id="87" idx="2"/>
            </p:cNvCxnSpPr>
            <p:nvPr/>
          </p:nvCxnSpPr>
          <p:spPr>
            <a:xfrm rot="10800000" flipH="1" flipV="1">
              <a:off x="736235" y="2433231"/>
              <a:ext cx="480902" cy="1097114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Connector: Elbow 30">
              <a:extLst>
                <a:ext uri="{FF2B5EF4-FFF2-40B4-BE49-F238E27FC236}">
                  <a16:creationId xmlns:a16="http://schemas.microsoft.com/office/drawing/2014/main" id="{A21B547C-F9C9-46D9-BCC0-41AD6C84AB9F}"/>
                </a:ext>
              </a:extLst>
            </p:cNvPr>
            <p:cNvCxnSpPr>
              <a:cxnSpLocks/>
              <a:stCxn id="88" idx="2"/>
              <a:endCxn id="89" idx="2"/>
            </p:cNvCxnSpPr>
            <p:nvPr/>
          </p:nvCxnSpPr>
          <p:spPr>
            <a:xfrm rot="10800000" flipH="1" flipV="1">
              <a:off x="736235" y="4074896"/>
              <a:ext cx="480902" cy="559153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Connector: Elbow 31">
              <a:extLst>
                <a:ext uri="{FF2B5EF4-FFF2-40B4-BE49-F238E27FC236}">
                  <a16:creationId xmlns:a16="http://schemas.microsoft.com/office/drawing/2014/main" id="{003A88B2-3C0F-43D6-9F0B-99ED057CFFDF}"/>
                </a:ext>
              </a:extLst>
            </p:cNvPr>
            <p:cNvCxnSpPr>
              <a:cxnSpLocks/>
              <a:stCxn id="88" idx="2"/>
              <a:endCxn id="90" idx="2"/>
            </p:cNvCxnSpPr>
            <p:nvPr>
              <p:custDataLst>
                <p:tags r:id="rId5"/>
              </p:custDataLst>
            </p:nvPr>
          </p:nvCxnSpPr>
          <p:spPr>
            <a:xfrm rot="10800000" flipH="1" flipV="1">
              <a:off x="736235" y="4074897"/>
              <a:ext cx="480902" cy="1089306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5" name="Oval 7">
              <a:extLst>
                <a:ext uri="{FF2B5EF4-FFF2-40B4-BE49-F238E27FC236}">
                  <a16:creationId xmlns:a16="http://schemas.microsoft.com/office/drawing/2014/main" id="{BF48724A-7AD3-46E1-A401-506D6A041F29}"/>
                </a:ext>
              </a:extLst>
            </p:cNvPr>
            <p:cNvSpPr/>
            <p:nvPr/>
          </p:nvSpPr>
          <p:spPr>
            <a:xfrm>
              <a:off x="404159" y="1866838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6" name="Oval 36">
              <a:extLst>
                <a:ext uri="{FF2B5EF4-FFF2-40B4-BE49-F238E27FC236}">
                  <a16:creationId xmlns:a16="http://schemas.microsoft.com/office/drawing/2014/main" id="{32F493A2-F954-4465-B965-8FA41B790D9E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>
            <a:xfrm>
              <a:off x="1217137" y="2933229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7" name="Oval 37">
              <a:extLst>
                <a:ext uri="{FF2B5EF4-FFF2-40B4-BE49-F238E27FC236}">
                  <a16:creationId xmlns:a16="http://schemas.microsoft.com/office/drawing/2014/main" id="{4C157B5A-94C3-448B-9504-14EBE360ACBE}"/>
                </a:ext>
              </a:extLst>
            </p:cNvPr>
            <p:cNvSpPr/>
            <p:nvPr/>
          </p:nvSpPr>
          <p:spPr>
            <a:xfrm>
              <a:off x="1217137" y="3476345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8" name="Oval 51">
              <a:extLst>
                <a:ext uri="{FF2B5EF4-FFF2-40B4-BE49-F238E27FC236}">
                  <a16:creationId xmlns:a16="http://schemas.microsoft.com/office/drawing/2014/main" id="{0BC273FC-0A44-4F0D-B7B7-9B5BCDFD8BFF}"/>
                </a:ext>
              </a:extLst>
            </p:cNvPr>
            <p:cNvSpPr/>
            <p:nvPr/>
          </p:nvSpPr>
          <p:spPr>
            <a:xfrm>
              <a:off x="736235" y="4020897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9" name="Oval 52">
              <a:extLst>
                <a:ext uri="{FF2B5EF4-FFF2-40B4-BE49-F238E27FC236}">
                  <a16:creationId xmlns:a16="http://schemas.microsoft.com/office/drawing/2014/main" id="{9CE7D06A-3744-4936-8F28-021DA4338E97}"/>
                </a:ext>
              </a:extLst>
            </p:cNvPr>
            <p:cNvSpPr/>
            <p:nvPr/>
          </p:nvSpPr>
          <p:spPr>
            <a:xfrm>
              <a:off x="1217137" y="4580050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0" name="Oval 53">
              <a:extLst>
                <a:ext uri="{FF2B5EF4-FFF2-40B4-BE49-F238E27FC236}">
                  <a16:creationId xmlns:a16="http://schemas.microsoft.com/office/drawing/2014/main" id="{25671CAA-8F0D-4062-9FC4-45371CD47E82}"/>
                </a:ext>
              </a:extLst>
            </p:cNvPr>
            <p:cNvSpPr/>
            <p:nvPr/>
          </p:nvSpPr>
          <p:spPr>
            <a:xfrm>
              <a:off x="1217137" y="5110203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1" name="Oval 54">
              <a:extLst>
                <a:ext uri="{FF2B5EF4-FFF2-40B4-BE49-F238E27FC236}">
                  <a16:creationId xmlns:a16="http://schemas.microsoft.com/office/drawing/2014/main" id="{26385A48-87FF-4E74-8694-4B668BA32EDD}"/>
                </a:ext>
              </a:extLst>
            </p:cNvPr>
            <p:cNvSpPr/>
            <p:nvPr/>
          </p:nvSpPr>
          <p:spPr>
            <a:xfrm>
              <a:off x="736235" y="2379231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cxnSp>
          <p:nvCxnSpPr>
            <p:cNvPr id="92" name="Connector: Elbow 55">
              <a:extLst>
                <a:ext uri="{FF2B5EF4-FFF2-40B4-BE49-F238E27FC236}">
                  <a16:creationId xmlns:a16="http://schemas.microsoft.com/office/drawing/2014/main" id="{0881EE64-CAF9-42AB-A77F-B8A602A5C626}"/>
                </a:ext>
              </a:extLst>
            </p:cNvPr>
            <p:cNvCxnSpPr>
              <a:cxnSpLocks/>
              <a:stCxn id="85" idx="2"/>
              <a:endCxn id="91" idx="2"/>
            </p:cNvCxnSpPr>
            <p:nvPr>
              <p:custDataLst>
                <p:tags r:id="rId7"/>
              </p:custDataLst>
            </p:nvPr>
          </p:nvCxnSpPr>
          <p:spPr>
            <a:xfrm rot="10800000" flipH="1" flipV="1">
              <a:off x="404159" y="1920837"/>
              <a:ext cx="332076" cy="512393"/>
            </a:xfrm>
            <a:prstGeom prst="bentConnector3">
              <a:avLst>
                <a:gd name="adj1" fmla="val -68840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90749035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E673707-12E2-4D1E-AB03-FD25BE4817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501" y="2"/>
            <a:ext cx="800605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odíl pozitivních testů: </a:t>
            </a:r>
            <a:r>
              <a:rPr lang="cs-CZ" dirty="0" smtClean="0"/>
              <a:t>diagnostické a klinické indikace </a:t>
            </a:r>
            <a:endParaRPr lang="cs-CZ" dirty="0">
              <a:latin typeface="+mj-lt"/>
            </a:endParaRP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CC555464-C1F2-4124-821F-660B522ED9C8}"/>
              </a:ext>
            </a:extLst>
          </p:cNvPr>
          <p:cNvSpPr txBox="1"/>
          <p:nvPr/>
        </p:nvSpPr>
        <p:spPr>
          <a:xfrm rot="16200000">
            <a:off x="-978817" y="3904624"/>
            <a:ext cx="27527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díl pozitivních případů v ČR</a:t>
            </a:r>
          </a:p>
        </p:txBody>
      </p:sp>
      <p:graphicFrame>
        <p:nvGraphicFramePr>
          <p:cNvPr id="13" name="Chart 4">
            <a:extLst>
              <a:ext uri="{FF2B5EF4-FFF2-40B4-BE49-F238E27FC236}">
                <a16:creationId xmlns:a16="http://schemas.microsoft.com/office/drawing/2014/main" id="{DDCE47EF-31FF-4F5A-A8E9-CB9CFC669B69}"/>
              </a:ext>
            </a:extLst>
          </p:cNvPr>
          <p:cNvGraphicFramePr/>
          <p:nvPr>
            <p:extLst/>
          </p:nvPr>
        </p:nvGraphicFramePr>
        <p:xfrm>
          <a:off x="671739" y="1459764"/>
          <a:ext cx="11010187" cy="52839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0" name="Table 13">
            <a:extLst>
              <a:ext uri="{FF2B5EF4-FFF2-40B4-BE49-F238E27FC236}">
                <a16:creationId xmlns:a16="http://schemas.microsoft.com/office/drawing/2014/main" id="{2C739B70-8AF5-4757-A444-19E3FCD01BD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63203804"/>
              </p:ext>
            </p:extLst>
          </p:nvPr>
        </p:nvGraphicFramePr>
        <p:xfrm>
          <a:off x="1441224" y="538875"/>
          <a:ext cx="3153360" cy="2124916"/>
        </p:xfrm>
        <a:graphic>
          <a:graphicData uri="http://schemas.openxmlformats.org/drawingml/2006/table">
            <a:tbl>
              <a:tblPr/>
              <a:tblGrid>
                <a:gridCol w="1683484">
                  <a:extLst>
                    <a:ext uri="{9D8B030D-6E8A-4147-A177-3AD203B41FA5}">
                      <a16:colId xmlns:a16="http://schemas.microsoft.com/office/drawing/2014/main" val="3546016253"/>
                    </a:ext>
                  </a:extLst>
                </a:gridCol>
                <a:gridCol w="1469876">
                  <a:extLst>
                    <a:ext uri="{9D8B030D-6E8A-4147-A177-3AD203B41FA5}">
                      <a16:colId xmlns:a16="http://schemas.microsoft.com/office/drawing/2014/main" val="1748583085"/>
                    </a:ext>
                  </a:extLst>
                </a:gridCol>
              </a:tblGrid>
              <a:tr h="262687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um*</a:t>
                      </a:r>
                      <a:endParaRPr lang="cs-CZ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cs-CZ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odíl pozitivních případů</a:t>
                      </a:r>
                      <a:endParaRPr lang="cs-CZ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7795841"/>
                  </a:ext>
                </a:extLst>
              </a:tr>
              <a:tr h="216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5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8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5809829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5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1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3172434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5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2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1266616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5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3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9860033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5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1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869354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05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4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9393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5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3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1735245"/>
                  </a:ext>
                </a:extLst>
              </a:tr>
              <a:tr h="2642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ůměrný podíl
za posledních 7 dní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2%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3649966"/>
                  </a:ext>
                </a:extLst>
              </a:tr>
            </a:tbl>
          </a:graphicData>
        </a:graphic>
      </p:graphicFrame>
      <p:sp>
        <p:nvSpPr>
          <p:cNvPr id="20" name="Obdélník 19">
            <a:extLst>
              <a:ext uri="{FF2B5EF4-FFF2-40B4-BE49-F238E27FC236}">
                <a16:creationId xmlns:a16="http://schemas.microsoft.com/office/drawing/2014/main" id="{206DCB10-AA7E-4865-BDF4-B9CFC41471DE}"/>
              </a:ext>
            </a:extLst>
          </p:cNvPr>
          <p:cNvSpPr/>
          <p:nvPr/>
        </p:nvSpPr>
        <p:spPr>
          <a:xfrm>
            <a:off x="1348946" y="2665994"/>
            <a:ext cx="354646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*Stav po aktualizaci dat za předchozí den.</a:t>
            </a:r>
          </a:p>
        </p:txBody>
      </p:sp>
    </p:spTree>
    <p:extLst>
      <p:ext uri="{BB962C8B-B14F-4D97-AF65-F5344CB8AC3E}">
        <p14:creationId xmlns:p14="http://schemas.microsoft.com/office/powerpoint/2010/main" val="235649856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E673707-12E2-4D1E-AB03-FD25BE4817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501" y="2"/>
            <a:ext cx="800605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odíl pozitivních testů: </a:t>
            </a:r>
            <a:r>
              <a:rPr lang="cs-CZ" dirty="0"/>
              <a:t>epidemiologické indikace</a:t>
            </a:r>
            <a:endParaRPr lang="cs-CZ" dirty="0">
              <a:latin typeface="+mj-lt"/>
            </a:endParaRP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CC555464-C1F2-4124-821F-660B522ED9C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978817" y="3904624"/>
            <a:ext cx="27527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díl pozitivních případů v ČR</a:t>
            </a:r>
          </a:p>
        </p:txBody>
      </p:sp>
      <p:graphicFrame>
        <p:nvGraphicFramePr>
          <p:cNvPr id="13" name="Chart 4">
            <a:extLst>
              <a:ext uri="{FF2B5EF4-FFF2-40B4-BE49-F238E27FC236}">
                <a16:creationId xmlns:a16="http://schemas.microsoft.com/office/drawing/2014/main" id="{DDCE47EF-31FF-4F5A-A8E9-CB9CFC669B69}"/>
              </a:ext>
            </a:extLst>
          </p:cNvPr>
          <p:cNvGraphicFramePr/>
          <p:nvPr>
            <p:extLst/>
          </p:nvPr>
        </p:nvGraphicFramePr>
        <p:xfrm>
          <a:off x="671739" y="1459764"/>
          <a:ext cx="11010187" cy="52839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0" name="Table 13">
            <a:extLst>
              <a:ext uri="{FF2B5EF4-FFF2-40B4-BE49-F238E27FC236}">
                <a16:creationId xmlns:a16="http://schemas.microsoft.com/office/drawing/2014/main" id="{7B012B0C-4DF3-4051-AF7A-08FD25CADB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63625563"/>
              </p:ext>
            </p:extLst>
          </p:nvPr>
        </p:nvGraphicFramePr>
        <p:xfrm>
          <a:off x="1469217" y="520215"/>
          <a:ext cx="3153360" cy="2124916"/>
        </p:xfrm>
        <a:graphic>
          <a:graphicData uri="http://schemas.openxmlformats.org/drawingml/2006/table">
            <a:tbl>
              <a:tblPr/>
              <a:tblGrid>
                <a:gridCol w="1683484">
                  <a:extLst>
                    <a:ext uri="{9D8B030D-6E8A-4147-A177-3AD203B41FA5}">
                      <a16:colId xmlns:a16="http://schemas.microsoft.com/office/drawing/2014/main" val="3546016253"/>
                    </a:ext>
                  </a:extLst>
                </a:gridCol>
                <a:gridCol w="1469876">
                  <a:extLst>
                    <a:ext uri="{9D8B030D-6E8A-4147-A177-3AD203B41FA5}">
                      <a16:colId xmlns:a16="http://schemas.microsoft.com/office/drawing/2014/main" val="1748583085"/>
                    </a:ext>
                  </a:extLst>
                </a:gridCol>
              </a:tblGrid>
              <a:tr h="262687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um*</a:t>
                      </a:r>
                      <a:endParaRPr lang="cs-CZ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cs-CZ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odíl pozitivních případů</a:t>
                      </a:r>
                      <a:endParaRPr lang="cs-CZ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7795841"/>
                  </a:ext>
                </a:extLst>
              </a:tr>
              <a:tr h="216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5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5809829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5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3172434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5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1266616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5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9860033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5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869354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05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8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9393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5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1735245"/>
                  </a:ext>
                </a:extLst>
              </a:tr>
              <a:tr h="2642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ůměrný podíl
za posledních 7 dní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%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3649966"/>
                  </a:ext>
                </a:extLst>
              </a:tr>
            </a:tbl>
          </a:graphicData>
        </a:graphic>
      </p:graphicFrame>
      <p:sp>
        <p:nvSpPr>
          <p:cNvPr id="20" name="Obdélník 19">
            <a:extLst>
              <a:ext uri="{FF2B5EF4-FFF2-40B4-BE49-F238E27FC236}">
                <a16:creationId xmlns:a16="http://schemas.microsoft.com/office/drawing/2014/main" id="{206DCB10-AA7E-4865-BDF4-B9CFC41471DE}"/>
              </a:ext>
            </a:extLst>
          </p:cNvPr>
          <p:cNvSpPr/>
          <p:nvPr/>
        </p:nvSpPr>
        <p:spPr>
          <a:xfrm>
            <a:off x="1376939" y="2647334"/>
            <a:ext cx="354646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*Stav po aktualizaci dat za předchozí den.</a:t>
            </a:r>
          </a:p>
        </p:txBody>
      </p:sp>
    </p:spTree>
    <p:extLst>
      <p:ext uri="{BB962C8B-B14F-4D97-AF65-F5344CB8AC3E}">
        <p14:creationId xmlns:p14="http://schemas.microsoft.com/office/powerpoint/2010/main" val="378262397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3346" y="3693109"/>
            <a:ext cx="11905307" cy="2367967"/>
          </a:xfrm>
        </p:spPr>
        <p:txBody>
          <a:bodyPr>
            <a:normAutofit/>
          </a:bodyPr>
          <a:lstStyle/>
          <a:p>
            <a:r>
              <a:rPr lang="cs-CZ" sz="4000" b="1" dirty="0"/>
              <a:t>Testy u dětí obecně</a:t>
            </a:r>
          </a:p>
          <a:p>
            <a:r>
              <a:rPr lang="cs-CZ" sz="4000" b="1" dirty="0"/>
              <a:t>Souhrnné výsledky testů ze škol </a:t>
            </a:r>
            <a:endParaRPr lang="cs-CZ" sz="4000" b="1" i="1" dirty="0"/>
          </a:p>
        </p:txBody>
      </p:sp>
    </p:spTree>
    <p:extLst>
      <p:ext uri="{BB962C8B-B14F-4D97-AF65-F5344CB8AC3E}">
        <p14:creationId xmlns:p14="http://schemas.microsoft.com/office/powerpoint/2010/main" val="179781737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64994" y="39452"/>
            <a:ext cx="11855555" cy="576000"/>
          </a:xfrm>
        </p:spPr>
        <p:txBody>
          <a:bodyPr/>
          <a:lstStyle/>
          <a:p>
            <a:pPr algn="ctr"/>
            <a:r>
              <a:rPr lang="cs-CZ" sz="2400" dirty="0"/>
              <a:t>Kumulativní počet testů provedených přímo ve školách </a:t>
            </a:r>
          </a:p>
        </p:txBody>
      </p:sp>
      <p:sp>
        <p:nvSpPr>
          <p:cNvPr id="19" name="TextBox 4">
            <a:extLst>
              <a:ext uri="{FF2B5EF4-FFF2-40B4-BE49-F238E27FC236}">
                <a16:creationId xmlns:a16="http://schemas.microsoft.com/office/drawing/2014/main" id="{9F9BCD63-50E0-4D36-9A76-86F564E370FE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6200" y="648748"/>
            <a:ext cx="731161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 exportu: 29. 5. 2021 18:00 -&gt; celkový přehled bez dělení dle věkových skupin žáků</a:t>
            </a:r>
          </a:p>
        </p:txBody>
      </p:sp>
      <p:graphicFrame>
        <p:nvGraphicFramePr>
          <p:cNvPr id="10" name="Graf 16">
            <a:extLst>
              <a:ext uri="{FF2B5EF4-FFF2-40B4-BE49-F238E27FC236}">
                <a16:creationId xmlns:a16="http://schemas.microsoft.com/office/drawing/2014/main" id="{3A451FDC-44C3-49C1-9378-D6D6BC55CE26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559687" y="1099751"/>
          <a:ext cx="11460862" cy="54263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11" name="Obdélník 11">
            <a:extLst>
              <a:ext uri="{FF2B5EF4-FFF2-40B4-BE49-F238E27FC236}">
                <a16:creationId xmlns:a16="http://schemas.microsoft.com/office/drawing/2014/main" id="{4E11FDD2-C553-4CA5-95B2-1ADDA689894C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 rot="16200000">
            <a:off x="-2018131" y="3390256"/>
            <a:ext cx="458654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K</a:t>
            </a:r>
            <a:r>
              <a:rPr kumimoji="0" lang="cs-CZ" sz="1800" b="1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mulativní</a:t>
            </a: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počet provedených testů</a:t>
            </a:r>
          </a:p>
        </p:txBody>
      </p:sp>
      <p:grpSp>
        <p:nvGrpSpPr>
          <p:cNvPr id="8" name="Skupina 7">
            <a:extLst>
              <a:ext uri="{FF2B5EF4-FFF2-40B4-BE49-F238E27FC236}">
                <a16:creationId xmlns:a16="http://schemas.microsoft.com/office/drawing/2014/main" id="{559DA486-5B4D-4CF3-B2A1-103CD2BC1928}"/>
              </a:ext>
            </a:extLst>
          </p:cNvPr>
          <p:cNvGrpSpPr/>
          <p:nvPr/>
        </p:nvGrpSpPr>
        <p:grpSpPr>
          <a:xfrm>
            <a:off x="1655097" y="1583258"/>
            <a:ext cx="2057077" cy="777412"/>
            <a:chOff x="1655097" y="1583258"/>
            <a:chExt cx="2057077" cy="777412"/>
          </a:xfrm>
        </p:grpSpPr>
        <p:sp>
          <p:nvSpPr>
            <p:cNvPr id="12" name="TextBox 4">
              <a:extLst>
                <a:ext uri="{FF2B5EF4-FFF2-40B4-BE49-F238E27FC236}">
                  <a16:creationId xmlns:a16="http://schemas.microsoft.com/office/drawing/2014/main" id="{92C0E3F8-2447-4A01-AEF4-0B4F66FC9508}"/>
                </a:ext>
              </a:extLst>
            </p:cNvPr>
            <p:cNvSpPr txBox="1"/>
            <p:nvPr>
              <p:custDataLst>
                <p:tags r:id="rId5"/>
              </p:custDataLst>
            </p:nvPr>
          </p:nvSpPr>
          <p:spPr>
            <a:xfrm>
              <a:off x="2475415" y="1583258"/>
              <a:ext cx="123675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Žáci</a:t>
              </a:r>
            </a:p>
          </p:txBody>
        </p:sp>
        <p:sp>
          <p:nvSpPr>
            <p:cNvPr id="13" name="TextBox 4">
              <a:extLst>
                <a:ext uri="{FF2B5EF4-FFF2-40B4-BE49-F238E27FC236}">
                  <a16:creationId xmlns:a16="http://schemas.microsoft.com/office/drawing/2014/main" id="{8E946716-5D4D-4616-9BBC-6ABF19E85689}"/>
                </a:ext>
              </a:extLst>
            </p:cNvPr>
            <p:cNvSpPr txBox="1"/>
            <p:nvPr>
              <p:custDataLst>
                <p:tags r:id="rId6"/>
              </p:custDataLst>
            </p:nvPr>
          </p:nvSpPr>
          <p:spPr>
            <a:xfrm>
              <a:off x="2475415" y="2052893"/>
              <a:ext cx="123675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Zaměstnanci</a:t>
              </a:r>
            </a:p>
          </p:txBody>
        </p:sp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6802A874-F297-42E0-8C76-702FD285E353}"/>
                </a:ext>
              </a:extLst>
            </p:cNvPr>
            <p:cNvCxnSpPr/>
            <p:nvPr>
              <p:custDataLst>
                <p:tags r:id="rId7"/>
              </p:custDataLst>
            </p:nvPr>
          </p:nvCxnSpPr>
          <p:spPr>
            <a:xfrm>
              <a:off x="1655097" y="1746056"/>
              <a:ext cx="620559" cy="0"/>
            </a:xfrm>
            <a:prstGeom prst="line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8B816A37-A9CE-41EA-87A4-E63CEBE7D94E}"/>
                </a:ext>
              </a:extLst>
            </p:cNvPr>
            <p:cNvCxnSpPr/>
            <p:nvPr>
              <p:custDataLst>
                <p:tags r:id="rId8"/>
              </p:custDataLst>
            </p:nvPr>
          </p:nvCxnSpPr>
          <p:spPr>
            <a:xfrm>
              <a:off x="1655097" y="2206782"/>
              <a:ext cx="620559" cy="0"/>
            </a:xfrm>
            <a:prstGeom prst="line">
              <a:avLst/>
            </a:prstGeom>
            <a:ln w="28575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04899091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>
            <p:custDataLst>
              <p:tags r:id="rId1"/>
            </p:custDataLst>
          </p:nvPr>
        </p:nvSpPr>
        <p:spPr>
          <a:xfrm>
            <a:off x="104775" y="117608"/>
            <a:ext cx="11953875" cy="65720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esty prováděné přímo ve školách jsou školami </a:t>
            </a:r>
            <a:r>
              <a:rPr kumimoji="0" lang="cs-CZ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agregovaně</a:t>
            </a: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 hlášeny do centrálního systému, který umožňuje sledovat vývoj pozitivních záchytů nákazy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Z průběžných dat vyplývá, že testy prováděné ve školách neindikují systémový rizikový vývoj či kontinuální eskalaci v šíření epidemie. Hodnoty v jednotlivých krajích různě v čase fluktuují, ale kontinuálně nerostou.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posledním uzavřeném týdnu (17.5. – 23.5.) došlo k nárůstu relativního počtu nákaz u žáků ve více krajích. Tato změna může souviset s návratem dalších ročníků do škol po 17.5., a tedy může jít o „</a:t>
            </a:r>
            <a:r>
              <a:rPr kumimoji="0" lang="cs-CZ" sz="2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arvesting</a:t>
            </a: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“ nákaz zjištěných u nových kohort studentů vracejících se do škol. Nárůst se v žádném z regionů významně nevymyká dlouhodobému průměru.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ty záchytů ve školách přepočítané na 100 tis. AG testů jsou dlouhodobě zvýšené v krajích Libereckém a Zlínském. </a:t>
            </a: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430358" y="619620"/>
            <a:ext cx="11249025" cy="8719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cs-CZ" sz="3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Šipka dolů 9"/>
          <p:cNvSpPr/>
          <p:nvPr/>
        </p:nvSpPr>
        <p:spPr>
          <a:xfrm>
            <a:off x="5255201" y="1234375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Šipka dolů 4"/>
          <p:cNvSpPr/>
          <p:nvPr/>
        </p:nvSpPr>
        <p:spPr>
          <a:xfrm>
            <a:off x="5255200" y="6228753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3348471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64994" y="39452"/>
            <a:ext cx="11855555" cy="576000"/>
          </a:xfrm>
        </p:spPr>
        <p:txBody>
          <a:bodyPr/>
          <a:lstStyle/>
          <a:p>
            <a:pPr algn="ctr"/>
            <a:r>
              <a:rPr lang="cs-CZ" sz="3000" dirty="0"/>
              <a:t>Testy hlášení ze škol – průběžné výsledky</a:t>
            </a:r>
          </a:p>
        </p:txBody>
      </p:sp>
      <p:sp>
        <p:nvSpPr>
          <p:cNvPr id="3" name="TextovéPole 2"/>
          <p:cNvSpPr txBox="1"/>
          <p:nvPr>
            <p:custDataLst>
              <p:tags r:id="rId2"/>
            </p:custDataLst>
          </p:nvPr>
        </p:nvSpPr>
        <p:spPr>
          <a:xfrm>
            <a:off x="224157" y="6476694"/>
            <a:ext cx="1209715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CELKOVÝ SOUHRN V DATECH (bez dělení na věkové kategorie žáků, které nejsou v datech testování ve školách k dispozici) </a:t>
            </a:r>
          </a:p>
        </p:txBody>
      </p:sp>
      <p:sp>
        <p:nvSpPr>
          <p:cNvPr id="6" name="TextovéPole 5"/>
          <p:cNvSpPr txBox="1"/>
          <p:nvPr>
            <p:custDataLst>
              <p:tags r:id="rId3"/>
            </p:custDataLst>
          </p:nvPr>
        </p:nvSpPr>
        <p:spPr>
          <a:xfrm>
            <a:off x="4455775" y="3156370"/>
            <a:ext cx="2221250" cy="769441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6 154 tis. testů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 319 záchytů</a:t>
            </a:r>
          </a:p>
        </p:txBody>
      </p:sp>
      <p:sp>
        <p:nvSpPr>
          <p:cNvPr id="8" name="Šipka doprava 7"/>
          <p:cNvSpPr/>
          <p:nvPr/>
        </p:nvSpPr>
        <p:spPr>
          <a:xfrm>
            <a:off x="7150615" y="3324401"/>
            <a:ext cx="733246" cy="38818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TextovéPole 8"/>
          <p:cNvSpPr txBox="1"/>
          <p:nvPr>
            <p:custDataLst>
              <p:tags r:id="rId4"/>
            </p:custDataLst>
          </p:nvPr>
        </p:nvSpPr>
        <p:spPr>
          <a:xfrm>
            <a:off x="8286750" y="3158610"/>
            <a:ext cx="2475781" cy="76944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ca 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8</a:t>
            </a:r>
            <a:r>
              <a:rPr kumimoji="0" lang="cs-CZ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záchytů na 100tis. testů</a:t>
            </a:r>
          </a:p>
        </p:txBody>
      </p:sp>
      <p:sp>
        <p:nvSpPr>
          <p:cNvPr id="10" name="TextovéPole 9"/>
          <p:cNvSpPr txBox="1"/>
          <p:nvPr>
            <p:custDataLst>
              <p:tags r:id="rId5"/>
            </p:custDataLst>
          </p:nvPr>
        </p:nvSpPr>
        <p:spPr>
          <a:xfrm>
            <a:off x="456172" y="3275726"/>
            <a:ext cx="276728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Ž</a:t>
            </a:r>
            <a:r>
              <a:rPr kumimoji="0" lang="cs-CZ" sz="3200" b="1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áci</a:t>
            </a:r>
            <a:r>
              <a:rPr kumimoji="0" lang="cs-CZ" sz="3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celkem* </a:t>
            </a:r>
          </a:p>
        </p:txBody>
      </p:sp>
      <p:sp>
        <p:nvSpPr>
          <p:cNvPr id="11" name="TextovéPole 10"/>
          <p:cNvSpPr txBox="1"/>
          <p:nvPr>
            <p:custDataLst>
              <p:tags r:id="rId6"/>
            </p:custDataLst>
          </p:nvPr>
        </p:nvSpPr>
        <p:spPr>
          <a:xfrm>
            <a:off x="4417674" y="1170788"/>
            <a:ext cx="2160227" cy="769441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 385 tis. testů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97 záchytů</a:t>
            </a:r>
          </a:p>
        </p:txBody>
      </p:sp>
      <p:sp>
        <p:nvSpPr>
          <p:cNvPr id="12" name="Šipka doprava 11"/>
          <p:cNvSpPr/>
          <p:nvPr/>
        </p:nvSpPr>
        <p:spPr>
          <a:xfrm>
            <a:off x="7172504" y="1407712"/>
            <a:ext cx="733246" cy="38818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TextovéPole 12"/>
          <p:cNvSpPr txBox="1"/>
          <p:nvPr>
            <p:custDataLst>
              <p:tags r:id="rId7"/>
            </p:custDataLst>
          </p:nvPr>
        </p:nvSpPr>
        <p:spPr>
          <a:xfrm>
            <a:off x="8286749" y="1226505"/>
            <a:ext cx="2475781" cy="76944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ca 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6</a:t>
            </a:r>
            <a:r>
              <a:rPr kumimoji="0" lang="cs-CZ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záchytů na 100tis. testů</a:t>
            </a:r>
          </a:p>
        </p:txBody>
      </p:sp>
      <p:sp>
        <p:nvSpPr>
          <p:cNvPr id="14" name="TextovéPole 13"/>
          <p:cNvSpPr txBox="1"/>
          <p:nvPr/>
        </p:nvSpPr>
        <p:spPr>
          <a:xfrm>
            <a:off x="456172" y="1367895"/>
            <a:ext cx="276728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městnanci</a:t>
            </a:r>
          </a:p>
        </p:txBody>
      </p:sp>
      <p:sp>
        <p:nvSpPr>
          <p:cNvPr id="19" name="TextBox 4">
            <a:extLst>
              <a:ext uri="{FF2B5EF4-FFF2-40B4-BE49-F238E27FC236}">
                <a16:creationId xmlns:a16="http://schemas.microsoft.com/office/drawing/2014/main" id="{9F9BCD63-50E0-4D36-9A76-86F564E370FE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0" y="648748"/>
            <a:ext cx="284885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 exportu: 29. 5. 2021 18:00</a:t>
            </a:r>
          </a:p>
        </p:txBody>
      </p:sp>
      <p:sp>
        <p:nvSpPr>
          <p:cNvPr id="15" name="TextovéPole 14"/>
          <p:cNvSpPr txBox="1"/>
          <p:nvPr>
            <p:custDataLst>
              <p:tags r:id="rId9"/>
            </p:custDataLst>
          </p:nvPr>
        </p:nvSpPr>
        <p:spPr>
          <a:xfrm>
            <a:off x="292231" y="4849009"/>
            <a:ext cx="3182928" cy="1354217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 sledované období bylo v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SIN</a:t>
            </a: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celkem zachyceno</a:t>
            </a:r>
            <a:b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10 340 </a:t>
            </a: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ákaz u dětí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5 – 15 let)</a:t>
            </a:r>
            <a:r>
              <a:rPr kumimoji="0" lang="cs-CZ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</a:p>
        </p:txBody>
      </p:sp>
      <p:sp>
        <p:nvSpPr>
          <p:cNvPr id="16" name="TextovéPole 15"/>
          <p:cNvSpPr txBox="1"/>
          <p:nvPr>
            <p:custDataLst>
              <p:tags r:id="rId10"/>
            </p:custDataLst>
          </p:nvPr>
        </p:nvSpPr>
        <p:spPr>
          <a:xfrm>
            <a:off x="8964951" y="4973578"/>
            <a:ext cx="3210419" cy="110799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esty provedené přímo ve školách potvrdily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 319 </a:t>
            </a:r>
            <a:r>
              <a:rPr kumimoji="0" lang="cs-CZ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áchytů nákazy</a:t>
            </a:r>
          </a:p>
        </p:txBody>
      </p:sp>
      <p:sp>
        <p:nvSpPr>
          <p:cNvPr id="17" name="TextovéPole 16"/>
          <p:cNvSpPr txBox="1"/>
          <p:nvPr>
            <p:custDataLst>
              <p:tags r:id="rId11"/>
            </p:custDataLst>
          </p:nvPr>
        </p:nvSpPr>
        <p:spPr>
          <a:xfrm>
            <a:off x="4196094" y="4573164"/>
            <a:ext cx="4330707" cy="178510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pidemická šetření všech záznamů v 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SIN</a:t>
            </a:r>
            <a:r>
              <a:rPr kumimoji="0" lang="cs-CZ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rokázala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 641 </a:t>
            </a:r>
            <a:r>
              <a:rPr kumimoji="0" lang="cs-CZ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ákaz dětí ve věku 5 – 15 let pravděpodobně souvisejících se školním kolektivem </a:t>
            </a:r>
          </a:p>
        </p:txBody>
      </p:sp>
      <p:cxnSp>
        <p:nvCxnSpPr>
          <p:cNvPr id="4" name="Přímá spojnice 3"/>
          <p:cNvCxnSpPr/>
          <p:nvPr/>
        </p:nvCxnSpPr>
        <p:spPr>
          <a:xfrm flipV="1">
            <a:off x="0" y="2505075"/>
            <a:ext cx="12192000" cy="2857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Šipka doprava 4"/>
          <p:cNvSpPr/>
          <p:nvPr/>
        </p:nvSpPr>
        <p:spPr>
          <a:xfrm>
            <a:off x="3746873" y="3211878"/>
            <a:ext cx="342900" cy="73922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Šipka doprava 20"/>
          <p:cNvSpPr/>
          <p:nvPr/>
        </p:nvSpPr>
        <p:spPr>
          <a:xfrm>
            <a:off x="3475159" y="1210900"/>
            <a:ext cx="342900" cy="73922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" name="Šipka doprava 21"/>
          <p:cNvSpPr/>
          <p:nvPr/>
        </p:nvSpPr>
        <p:spPr>
          <a:xfrm rot="5400000">
            <a:off x="1581204" y="3947041"/>
            <a:ext cx="342900" cy="73922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Šipka doprava 22"/>
          <p:cNvSpPr/>
          <p:nvPr/>
        </p:nvSpPr>
        <p:spPr>
          <a:xfrm>
            <a:off x="3746873" y="5171249"/>
            <a:ext cx="342900" cy="73922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Šipka doprava 24"/>
          <p:cNvSpPr/>
          <p:nvPr/>
        </p:nvSpPr>
        <p:spPr>
          <a:xfrm rot="10800000">
            <a:off x="8583951" y="5171249"/>
            <a:ext cx="342900" cy="73922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extovéPole 1"/>
          <p:cNvSpPr txBox="1"/>
          <p:nvPr/>
        </p:nvSpPr>
        <p:spPr>
          <a:xfrm>
            <a:off x="3746873" y="2689602"/>
            <a:ext cx="36957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esty ve školách </a:t>
            </a:r>
          </a:p>
        </p:txBody>
      </p:sp>
      <p:sp>
        <p:nvSpPr>
          <p:cNvPr id="24" name="TextovéPole 23"/>
          <p:cNvSpPr txBox="1"/>
          <p:nvPr/>
        </p:nvSpPr>
        <p:spPr>
          <a:xfrm>
            <a:off x="3649937" y="782752"/>
            <a:ext cx="36957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esty ve školách </a:t>
            </a:r>
          </a:p>
        </p:txBody>
      </p:sp>
    </p:spTree>
    <p:extLst>
      <p:ext uri="{BB962C8B-B14F-4D97-AF65-F5344CB8AC3E}">
        <p14:creationId xmlns:p14="http://schemas.microsoft.com/office/powerpoint/2010/main" val="4198162330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64994" y="39452"/>
            <a:ext cx="11855555" cy="576000"/>
          </a:xfrm>
        </p:spPr>
        <p:txBody>
          <a:bodyPr/>
          <a:lstStyle/>
          <a:p>
            <a:pPr algn="ctr"/>
            <a:r>
              <a:rPr lang="cs-CZ" sz="2400" dirty="0"/>
              <a:t>Populační záchyty nákazy u dětí různých věkových kategorií</a:t>
            </a:r>
          </a:p>
        </p:txBody>
      </p:sp>
      <p:sp>
        <p:nvSpPr>
          <p:cNvPr id="3" name="TextovéPole 2"/>
          <p:cNvSpPr txBox="1"/>
          <p:nvPr>
            <p:custDataLst>
              <p:tags r:id="rId2"/>
            </p:custDataLst>
          </p:nvPr>
        </p:nvSpPr>
        <p:spPr>
          <a:xfrm>
            <a:off x="224157" y="6476694"/>
            <a:ext cx="1209715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CELKOVÝ SOUHRN V DATECH (bez dělení na věkové kategorie žáků, které nejsou v datech testování ve školách k dispozici) </a:t>
            </a:r>
          </a:p>
        </p:txBody>
      </p:sp>
      <p:sp>
        <p:nvSpPr>
          <p:cNvPr id="10" name="TextovéPole 9"/>
          <p:cNvSpPr txBox="1"/>
          <p:nvPr>
            <p:custDataLst>
              <p:tags r:id="rId3"/>
            </p:custDataLst>
          </p:nvPr>
        </p:nvSpPr>
        <p:spPr>
          <a:xfrm>
            <a:off x="224157" y="1009108"/>
            <a:ext cx="276728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ěti 5 – 11 let</a:t>
            </a:r>
          </a:p>
        </p:txBody>
      </p:sp>
      <p:sp>
        <p:nvSpPr>
          <p:cNvPr id="19" name="TextBox 4">
            <a:extLst>
              <a:ext uri="{FF2B5EF4-FFF2-40B4-BE49-F238E27FC236}">
                <a16:creationId xmlns:a16="http://schemas.microsoft.com/office/drawing/2014/main" id="{9F9BCD63-50E0-4D36-9A76-86F564E370F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0" y="648748"/>
            <a:ext cx="284885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 exportu: 29. 5. 2021 18:00</a:t>
            </a:r>
          </a:p>
        </p:txBody>
      </p:sp>
      <p:sp>
        <p:nvSpPr>
          <p:cNvPr id="15" name="TextovéPole 14"/>
          <p:cNvSpPr txBox="1"/>
          <p:nvPr>
            <p:custDataLst>
              <p:tags r:id="rId5"/>
            </p:custDataLst>
          </p:nvPr>
        </p:nvSpPr>
        <p:spPr>
          <a:xfrm>
            <a:off x="292231" y="1543834"/>
            <a:ext cx="4312272" cy="1046440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 sledované období bylo v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SIN</a:t>
            </a: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celkem zachyceno </a:t>
            </a:r>
            <a:r>
              <a:rPr kumimoji="0" lang="cs-CZ" sz="20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6 487 </a:t>
            </a: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ákaz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 dětí (5 – 11 let)</a:t>
            </a:r>
            <a:r>
              <a:rPr kumimoji="0" lang="cs-CZ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</a:p>
        </p:txBody>
      </p:sp>
      <p:sp>
        <p:nvSpPr>
          <p:cNvPr id="17" name="TextovéPole 16"/>
          <p:cNvSpPr txBox="1"/>
          <p:nvPr>
            <p:custDataLst>
              <p:tags r:id="rId6"/>
            </p:custDataLst>
          </p:nvPr>
        </p:nvSpPr>
        <p:spPr>
          <a:xfrm>
            <a:off x="5289543" y="1402633"/>
            <a:ext cx="4216407" cy="132343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pidemická šetření v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SIN</a:t>
            </a: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rokázala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 916 </a:t>
            </a: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ákaz pravděpodobně souvisejících se školním kolektivem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30 % celku)</a:t>
            </a:r>
          </a:p>
        </p:txBody>
      </p:sp>
      <p:sp>
        <p:nvSpPr>
          <p:cNvPr id="23" name="Šipka doprava 22"/>
          <p:cNvSpPr/>
          <p:nvPr/>
        </p:nvSpPr>
        <p:spPr>
          <a:xfrm>
            <a:off x="4794623" y="1712431"/>
            <a:ext cx="342900" cy="73922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" name="TextovéPole 26"/>
          <p:cNvSpPr txBox="1"/>
          <p:nvPr>
            <p:custDataLst>
              <p:tags r:id="rId7"/>
            </p:custDataLst>
          </p:nvPr>
        </p:nvSpPr>
        <p:spPr>
          <a:xfrm>
            <a:off x="224157" y="2725899"/>
            <a:ext cx="327151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ěti 12 – 15 let</a:t>
            </a:r>
          </a:p>
        </p:txBody>
      </p:sp>
      <p:sp>
        <p:nvSpPr>
          <p:cNvPr id="28" name="TextovéPole 27"/>
          <p:cNvSpPr txBox="1"/>
          <p:nvPr>
            <p:custDataLst>
              <p:tags r:id="rId8"/>
            </p:custDataLst>
          </p:nvPr>
        </p:nvSpPr>
        <p:spPr>
          <a:xfrm>
            <a:off x="292231" y="3308250"/>
            <a:ext cx="4312272" cy="1046440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 sledované období bylo v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SIN</a:t>
            </a: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celkem zachyceno </a:t>
            </a:r>
            <a:r>
              <a:rPr kumimoji="0" lang="pt-BR" sz="20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3 </a:t>
            </a:r>
            <a:r>
              <a:rPr kumimoji="0" lang="cs-CZ" sz="20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853</a:t>
            </a: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ákaz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 dětí (12 – 15 let)</a:t>
            </a:r>
            <a:r>
              <a:rPr kumimoji="0" lang="cs-CZ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</a:p>
        </p:txBody>
      </p:sp>
      <p:sp>
        <p:nvSpPr>
          <p:cNvPr id="29" name="TextovéPole 28"/>
          <p:cNvSpPr txBox="1"/>
          <p:nvPr>
            <p:custDataLst>
              <p:tags r:id="rId9"/>
            </p:custDataLst>
          </p:nvPr>
        </p:nvSpPr>
        <p:spPr>
          <a:xfrm>
            <a:off x="5289543" y="3149720"/>
            <a:ext cx="4216407" cy="132343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pidemická šetření v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SIN</a:t>
            </a: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rokázala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25 </a:t>
            </a: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ákaz pravděpodobně souvisejících se školním kolektivem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19 % celku)</a:t>
            </a:r>
          </a:p>
        </p:txBody>
      </p:sp>
      <p:sp>
        <p:nvSpPr>
          <p:cNvPr id="30" name="Šipka doprava 29"/>
          <p:cNvSpPr/>
          <p:nvPr/>
        </p:nvSpPr>
        <p:spPr>
          <a:xfrm>
            <a:off x="4794623" y="3459518"/>
            <a:ext cx="342900" cy="73922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" name="TextovéPole 30"/>
          <p:cNvSpPr txBox="1"/>
          <p:nvPr>
            <p:custDataLst>
              <p:tags r:id="rId10"/>
            </p:custDataLst>
          </p:nvPr>
        </p:nvSpPr>
        <p:spPr>
          <a:xfrm>
            <a:off x="224157" y="4518452"/>
            <a:ext cx="327151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ěti 16 – 19 let</a:t>
            </a:r>
          </a:p>
        </p:txBody>
      </p:sp>
      <p:sp>
        <p:nvSpPr>
          <p:cNvPr id="32" name="TextovéPole 31"/>
          <p:cNvSpPr txBox="1"/>
          <p:nvPr>
            <p:custDataLst>
              <p:tags r:id="rId11"/>
            </p:custDataLst>
          </p:nvPr>
        </p:nvSpPr>
        <p:spPr>
          <a:xfrm>
            <a:off x="292231" y="5081753"/>
            <a:ext cx="4312272" cy="1046440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 sledované období bylo v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SIN</a:t>
            </a: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celkem zachyceno </a:t>
            </a:r>
            <a:r>
              <a:rPr kumimoji="0" lang="cs-CZ" sz="20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3 206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ákaz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 dětí (16 – 19 let)</a:t>
            </a:r>
            <a:r>
              <a:rPr kumimoji="0" lang="cs-CZ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</a:p>
        </p:txBody>
      </p:sp>
      <p:sp>
        <p:nvSpPr>
          <p:cNvPr id="33" name="TextovéPole 32"/>
          <p:cNvSpPr txBox="1"/>
          <p:nvPr>
            <p:custDataLst>
              <p:tags r:id="rId12"/>
            </p:custDataLst>
          </p:nvPr>
        </p:nvSpPr>
        <p:spPr>
          <a:xfrm>
            <a:off x="5289543" y="4913698"/>
            <a:ext cx="4216407" cy="132343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pidemická šetření v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SIN</a:t>
            </a: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rokázala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95 </a:t>
            </a: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ákaz pravděpodobně souvisejících se školním kolektivem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3 % celku)</a:t>
            </a:r>
          </a:p>
        </p:txBody>
      </p:sp>
      <p:sp>
        <p:nvSpPr>
          <p:cNvPr id="34" name="Šipka doprava 33"/>
          <p:cNvSpPr/>
          <p:nvPr/>
        </p:nvSpPr>
        <p:spPr>
          <a:xfrm>
            <a:off x="4794623" y="5204446"/>
            <a:ext cx="342900" cy="73922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extovéPole 1"/>
          <p:cNvSpPr txBox="1"/>
          <p:nvPr>
            <p:custDataLst>
              <p:tags r:id="rId13"/>
            </p:custDataLst>
          </p:nvPr>
        </p:nvSpPr>
        <p:spPr>
          <a:xfrm>
            <a:off x="9505950" y="2357659"/>
            <a:ext cx="2581275" cy="3108543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ůběžně hodnocená dat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 nákazách žáků ukazují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 logický gradient v podílu nákaz souvisejících se školou (výsledky epidemických šetření KHS)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ěková kategorie, která je nejdéle ve škole (5 – 11 let) vykazuje 30 % z celkem zachycených nákaz (po 12.4.) jako souvisejících se školou, dále tento podíl klesá k 19 % (třída 12 – 15 let) a k 3 % (16 – 19 let). </a:t>
            </a:r>
          </a:p>
        </p:txBody>
      </p:sp>
    </p:spTree>
    <p:extLst>
      <p:ext uri="{BB962C8B-B14F-4D97-AF65-F5344CB8AC3E}">
        <p14:creationId xmlns:p14="http://schemas.microsoft.com/office/powerpoint/2010/main" val="311492139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651307" cy="576000"/>
          </a:xfrm>
        </p:spPr>
        <p:txBody>
          <a:bodyPr/>
          <a:lstStyle/>
          <a:p>
            <a:r>
              <a:rPr lang="cs-CZ" dirty="0"/>
              <a:t>Počty COVID-19 pozitivních v ČR na 100 000 v populaci</a:t>
            </a:r>
          </a:p>
        </p:txBody>
      </p:sp>
      <p:graphicFrame>
        <p:nvGraphicFramePr>
          <p:cNvPr id="17" name="Graf 16">
            <a:extLst>
              <a:ext uri="{FF2B5EF4-FFF2-40B4-BE49-F238E27FC236}">
                <a16:creationId xmlns:a16="http://schemas.microsoft.com/office/drawing/2014/main" id="{A0832711-C8D3-482F-ADC2-50907D83BB18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4177345"/>
              </p:ext>
            </p:extLst>
          </p:nvPr>
        </p:nvGraphicFramePr>
        <p:xfrm>
          <a:off x="1392507" y="1602506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137649" y="1757297"/>
            <a:ext cx="1254858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v dané věkové skupině v populaci (suma za celý časový úsek)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73842" y="873810"/>
            <a:ext cx="1134427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pulační zátěž klesá ve všech věkových kategoriích dospělých, významněji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 kategoriích </a:t>
            </a:r>
            <a:r>
              <a:rPr kumimoji="0" lang="cs-CZ" sz="2200" b="1" i="0" u="none" strike="noStrike" kern="1200" cap="none" spc="0" normalizeH="0" baseline="0" noProof="0" dirty="0" err="1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niorního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věku –</a:t>
            </a:r>
            <a:r>
              <a:rPr kumimoji="0" lang="cs-CZ" sz="22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cs-CZ" sz="2200" b="1" i="0" u="sng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liv očkování 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5127589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7651307" cy="576000"/>
          </a:xfrm>
        </p:spPr>
        <p:txBody>
          <a:bodyPr/>
          <a:lstStyle/>
          <a:p>
            <a:r>
              <a:rPr lang="cs-CZ" dirty="0"/>
              <a:t>Počty COVID-19 pozitivních v ČR na 100 000 v populaci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8596C74F-0221-4E8A-956E-65A82E2B961A}"/>
              </a:ext>
            </a:extLst>
          </p:cNvPr>
          <p:cNvSpPr txBox="1"/>
          <p:nvPr/>
        </p:nvSpPr>
        <p:spPr>
          <a:xfrm>
            <a:off x="2162175" y="6545102"/>
            <a:ext cx="707707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– Informační systém infekční nemocí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7" name="Graf 16">
            <a:extLst>
              <a:ext uri="{FF2B5EF4-FFF2-40B4-BE49-F238E27FC236}">
                <a16:creationId xmlns:a16="http://schemas.microsoft.com/office/drawing/2014/main" id="{A0832711-C8D3-482F-ADC2-50907D83BB18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1392508" y="1399769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137649" y="2386547"/>
            <a:ext cx="1254858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v dané věkové skupině v populaci (suma za celý časový úsek)</a:t>
            </a:r>
          </a:p>
        </p:txBody>
      </p:sp>
      <p:sp>
        <p:nvSpPr>
          <p:cNvPr id="26" name="Obdélník 25">
            <a:extLst>
              <a:ext uri="{FF2B5EF4-FFF2-40B4-BE49-F238E27FC236}">
                <a16:creationId xmlns:a16="http://schemas.microsoft.com/office/drawing/2014/main" id="{56BE7CCB-72FB-4FD9-853A-D05AEC7FC53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831583" y="1542954"/>
            <a:ext cx="2041050" cy="46166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21.12. do 3.1. vánoční školní prázdniny</a:t>
            </a:r>
            <a:endParaRPr kumimoji="0" lang="cs-CZ" sz="1800" b="0" i="1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63385A4C-5F20-4192-9027-8DBE2AB6717C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781030" y="1581538"/>
            <a:ext cx="2117000" cy="46166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1. 3. přerušení veškeré prezenční výuky</a:t>
            </a:r>
          </a:p>
        </p:txBody>
      </p:sp>
      <p:sp>
        <p:nvSpPr>
          <p:cNvPr id="14" name="Obdélník 13">
            <a:extLst>
              <a:ext uri="{FF2B5EF4-FFF2-40B4-BE49-F238E27FC236}">
                <a16:creationId xmlns:a16="http://schemas.microsoft.com/office/drawing/2014/main" id="{F6D42FF0-6565-403F-B660-2326C9C90499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623955" y="1971700"/>
            <a:ext cx="3211835" cy="83099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4. 1. pokračuje výuka pouz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MŠ a 1. a 2. třídách ZŠ, </a:t>
            </a:r>
            <a:b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řípravných třídách, speciálních </a:t>
            </a:r>
            <a:b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 praktických školách</a:t>
            </a:r>
          </a:p>
        </p:txBody>
      </p:sp>
      <p:cxnSp>
        <p:nvCxnSpPr>
          <p:cNvPr id="24" name="Přímá spojnice se šipkou 23">
            <a:extLst>
              <a:ext uri="{FF2B5EF4-FFF2-40B4-BE49-F238E27FC236}">
                <a16:creationId xmlns:a16="http://schemas.microsoft.com/office/drawing/2014/main" id="{C84AA3A6-B8AF-4AD3-9609-5B6777C769C4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4174692" y="1853967"/>
            <a:ext cx="0" cy="80258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/>
        </p:nvSpPr>
        <p:spPr>
          <a:xfrm>
            <a:off x="265215" y="697003"/>
            <a:ext cx="1134427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pulační zátěž klesá ve všech věkových kategoriích dětí. </a:t>
            </a:r>
          </a:p>
        </p:txBody>
      </p:sp>
      <p:sp>
        <p:nvSpPr>
          <p:cNvPr id="16" name="Obdélník 15">
            <a:extLst>
              <a:ext uri="{FF2B5EF4-FFF2-40B4-BE49-F238E27FC236}">
                <a16:creationId xmlns:a16="http://schemas.microsoft.com/office/drawing/2014/main" id="{63385A4C-5F20-4192-9027-8DBE2AB6717C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386853" y="2523596"/>
            <a:ext cx="2457270" cy="64633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2. 4. otevřeny MŠ pro předškolní děti, návrat 1. stupně ZŠ v rotačním režimu</a:t>
            </a:r>
          </a:p>
        </p:txBody>
      </p:sp>
      <p:cxnSp>
        <p:nvCxnSpPr>
          <p:cNvPr id="18" name="Přímá spojnice se šipkou 17">
            <a:extLst>
              <a:ext uri="{FF2B5EF4-FFF2-40B4-BE49-F238E27FC236}">
                <a16:creationId xmlns:a16="http://schemas.microsoft.com/office/drawing/2014/main" id="{C84AA3A6-B8AF-4AD3-9609-5B6777C769C4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 flipH="1">
            <a:off x="7165424" y="3315626"/>
            <a:ext cx="2758" cy="10957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Obdélník 19">
            <a:extLst>
              <a:ext uri="{FF2B5EF4-FFF2-40B4-BE49-F238E27FC236}">
                <a16:creationId xmlns:a16="http://schemas.microsoft.com/office/drawing/2014/main" id="{EC83A386-1D77-43BD-98DD-1074CDE32BD0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6932892" y="1559490"/>
            <a:ext cx="4195207" cy="83099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26. 4. MŠ otevřeny zcela, SŠ a VOŠ praktické vyučování v PLK, HKK, KVK </a:t>
            </a:r>
            <a:b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3. 5. dále STC, LBK, PAK, PHA s rozšířením rotační výuky 2. st. ZŠ a od 10. 5. ve zbývajících krajích</a:t>
            </a:r>
          </a:p>
        </p:txBody>
      </p:sp>
      <p:cxnSp>
        <p:nvCxnSpPr>
          <p:cNvPr id="21" name="Přímá spojnice se šipkou 20">
            <a:extLst>
              <a:ext uri="{FF2B5EF4-FFF2-40B4-BE49-F238E27FC236}">
                <a16:creationId xmlns:a16="http://schemas.microsoft.com/office/drawing/2014/main" id="{0EA45419-FFE6-41F1-9778-325DBC06FC41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>
            <a:off x="8131880" y="2523596"/>
            <a:ext cx="0" cy="217180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Přímá spojnice se šipkou 21">
            <a:extLst>
              <a:ext uri="{FF2B5EF4-FFF2-40B4-BE49-F238E27FC236}">
                <a16:creationId xmlns:a16="http://schemas.microsoft.com/office/drawing/2014/main" id="{931B54ED-96B8-4B0B-88B2-56F3421552FF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>
          <a:xfrm>
            <a:off x="8636622" y="2523596"/>
            <a:ext cx="0" cy="217180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Přímá spojnice se šipkou 22">
            <a:extLst>
              <a:ext uri="{FF2B5EF4-FFF2-40B4-BE49-F238E27FC236}">
                <a16:creationId xmlns:a16="http://schemas.microsoft.com/office/drawing/2014/main" id="{16BF9B4A-EA00-4154-9ADA-5E9222B2A3C2}"/>
              </a:ext>
            </a:extLst>
          </p:cNvPr>
          <p:cNvCxnSpPr>
            <a:cxnSpLocks/>
          </p:cNvCxnSpPr>
          <p:nvPr>
            <p:custDataLst>
              <p:tags r:id="rId12"/>
            </p:custDataLst>
          </p:nvPr>
        </p:nvCxnSpPr>
        <p:spPr>
          <a:xfrm>
            <a:off x="9124582" y="2523596"/>
            <a:ext cx="0" cy="217180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80055862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64994" y="39452"/>
            <a:ext cx="11855555" cy="576000"/>
          </a:xfrm>
        </p:spPr>
        <p:txBody>
          <a:bodyPr/>
          <a:lstStyle/>
          <a:p>
            <a:pPr algn="ctr"/>
            <a:r>
              <a:rPr lang="cs-CZ" sz="2400" dirty="0"/>
              <a:t>Testy ve školách – průběžné výsledky (dle CFA) 12.4–28.5.2021 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B9B75F1C-79F6-4CB5-81AE-E6F3CE2F5AF9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79269" y="2200577"/>
          <a:ext cx="6046620" cy="45996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C4984AB8-6DDA-4CD0-8EF1-2676A4607D32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056924" y="1893272"/>
            <a:ext cx="338105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zitivních žáků na 100 tis. testů</a:t>
            </a: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31997599-EE1B-4E00-A308-3277A4B27933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6191250" y="2200577"/>
          <a:ext cx="6046620" cy="45996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3C6FFC02-0331-4ACA-97B7-FCBDEE6D0D28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214039" y="1902635"/>
            <a:ext cx="358784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zitivních učitelů na 100 tis. testů</a:t>
            </a:r>
          </a:p>
        </p:txBody>
      </p:sp>
      <p:sp>
        <p:nvSpPr>
          <p:cNvPr id="13" name="TextBox 4">
            <a:extLst>
              <a:ext uri="{FF2B5EF4-FFF2-40B4-BE49-F238E27FC236}">
                <a16:creationId xmlns:a16="http://schemas.microsoft.com/office/drawing/2014/main" id="{DC31C7CC-C883-48E9-A01B-7FA2F0428874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5725" y="759505"/>
            <a:ext cx="284885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 exportu: 29. 5. 2021 18:00</a:t>
            </a:r>
          </a:p>
        </p:txBody>
      </p:sp>
      <p:sp>
        <p:nvSpPr>
          <p:cNvPr id="2" name="Obdélník 1"/>
          <p:cNvSpPr/>
          <p:nvPr>
            <p:custDataLst>
              <p:tags r:id="rId7"/>
            </p:custDataLst>
          </p:nvPr>
        </p:nvSpPr>
        <p:spPr>
          <a:xfrm>
            <a:off x="1173083" y="1058739"/>
            <a:ext cx="10674717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ty pozitivních záchytů na 100 tisíc testů nahlášených ze škol bez dělení na věkové kategori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elkový souhrn za celé sledované období od 12.4. </a:t>
            </a:r>
          </a:p>
        </p:txBody>
      </p:sp>
      <p:sp>
        <p:nvSpPr>
          <p:cNvPr id="3" name="Šipka dolů 2"/>
          <p:cNvSpPr/>
          <p:nvPr/>
        </p:nvSpPr>
        <p:spPr>
          <a:xfrm>
            <a:off x="3208998" y="1687128"/>
            <a:ext cx="650271" cy="20959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Šipka dolů 11"/>
          <p:cNvSpPr/>
          <p:nvPr/>
        </p:nvSpPr>
        <p:spPr>
          <a:xfrm>
            <a:off x="9398604" y="1687128"/>
            <a:ext cx="650271" cy="209590"/>
          </a:xfrm>
          <a:prstGeom prst="downArrow">
            <a:avLst/>
          </a:prstGeom>
          <a:solidFill>
            <a:srgbClr val="00B0F0"/>
          </a:solidFill>
          <a:ln>
            <a:solidFill>
              <a:srgbClr val="4DE5F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extovéPole 13"/>
          <p:cNvSpPr txBox="1"/>
          <p:nvPr/>
        </p:nvSpPr>
        <p:spPr>
          <a:xfrm>
            <a:off x="10007960" y="5415201"/>
            <a:ext cx="2144289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kladem pro grafy jsou agregované výsledky testů hlášené přímo ze škol. Jde tedy o průběžná data bez následných konfirmací. </a:t>
            </a:r>
          </a:p>
        </p:txBody>
      </p:sp>
    </p:spTree>
    <p:extLst>
      <p:ext uri="{BB962C8B-B14F-4D97-AF65-F5344CB8AC3E}">
        <p14:creationId xmlns:p14="http://schemas.microsoft.com/office/powerpoint/2010/main" val="4127375698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7651307" cy="576000"/>
          </a:xfrm>
        </p:spPr>
        <p:txBody>
          <a:bodyPr/>
          <a:lstStyle/>
          <a:p>
            <a:r>
              <a:rPr lang="cs-CZ" dirty="0"/>
              <a:t>Počty nově COVID-19 pozitivních na 100 testů u dětí v čase</a:t>
            </a: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F110567F-ED9A-4B75-8A99-2C76347C8E2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952239" y="3850901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0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4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roky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96DFE862-337B-42DF-9CE0-613BB419EE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515144" y="3850901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5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1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let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Obdélník 19">
            <a:extLst>
              <a:ext uri="{FF2B5EF4-FFF2-40B4-BE49-F238E27FC236}">
                <a16:creationId xmlns:a16="http://schemas.microsoft.com/office/drawing/2014/main" id="{6268F6CC-8AED-4B18-94E5-6D17E31A331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9096907" y="3850901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2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9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let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Obdélník 4">
            <a:extLst>
              <a:ext uri="{FF2B5EF4-FFF2-40B4-BE49-F238E27FC236}">
                <a16:creationId xmlns:a16="http://schemas.microsoft.com/office/drawing/2014/main" id="{201F6F44-1A1F-4938-A91E-85733E1BBD42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885942" y="751576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0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4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roky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Obdélník 18">
            <a:extLst>
              <a:ext uri="{FF2B5EF4-FFF2-40B4-BE49-F238E27FC236}">
                <a16:creationId xmlns:a16="http://schemas.microsoft.com/office/drawing/2014/main" id="{09378E26-1A0F-49EA-84B8-0F2F31134957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5448847" y="751576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5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1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let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Obdélník 19">
            <a:extLst>
              <a:ext uri="{FF2B5EF4-FFF2-40B4-BE49-F238E27FC236}">
                <a16:creationId xmlns:a16="http://schemas.microsoft.com/office/drawing/2014/main" id="{357A4323-961E-4F3F-952E-33FADA0EFC40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030610" y="751576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2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9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let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6" name="Graf 16">
            <a:extLst>
              <a:ext uri="{FF2B5EF4-FFF2-40B4-BE49-F238E27FC236}">
                <a16:creationId xmlns:a16="http://schemas.microsoft.com/office/drawing/2014/main" id="{5344641D-2322-48FA-B46D-EBF942D0F408}"/>
              </a:ext>
            </a:extLst>
          </p:cNvPr>
          <p:cNvGraphicFramePr/>
          <p:nvPr>
            <p:custDataLst>
              <p:tags r:id="rId8"/>
            </p:custDataLst>
          </p:nvPr>
        </p:nvGraphicFramePr>
        <p:xfrm>
          <a:off x="1515748" y="960159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graphicFrame>
        <p:nvGraphicFramePr>
          <p:cNvPr id="29" name="Graf 16">
            <a:extLst>
              <a:ext uri="{FF2B5EF4-FFF2-40B4-BE49-F238E27FC236}">
                <a16:creationId xmlns:a16="http://schemas.microsoft.com/office/drawing/2014/main" id="{D14DC449-1F00-4761-9C0F-0F7E7D0DDD4D}"/>
              </a:ext>
            </a:extLst>
          </p:cNvPr>
          <p:cNvGraphicFramePr/>
          <p:nvPr>
            <p:custDataLst>
              <p:tags r:id="rId9"/>
            </p:custDataLst>
          </p:nvPr>
        </p:nvGraphicFramePr>
        <p:xfrm>
          <a:off x="4991399" y="995652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graphicFrame>
        <p:nvGraphicFramePr>
          <p:cNvPr id="32" name="Graf 16">
            <a:extLst>
              <a:ext uri="{FF2B5EF4-FFF2-40B4-BE49-F238E27FC236}">
                <a16:creationId xmlns:a16="http://schemas.microsoft.com/office/drawing/2014/main" id="{0D0112F6-E60E-4310-AF92-E2A52E7E4780}"/>
              </a:ext>
            </a:extLst>
          </p:cNvPr>
          <p:cNvGraphicFramePr/>
          <p:nvPr>
            <p:custDataLst>
              <p:tags r:id="rId10"/>
            </p:custDataLst>
          </p:nvPr>
        </p:nvGraphicFramePr>
        <p:xfrm>
          <a:off x="8562717" y="997797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graphicFrame>
        <p:nvGraphicFramePr>
          <p:cNvPr id="33" name="Graf 16">
            <a:extLst>
              <a:ext uri="{FF2B5EF4-FFF2-40B4-BE49-F238E27FC236}">
                <a16:creationId xmlns:a16="http://schemas.microsoft.com/office/drawing/2014/main" id="{2BC56D18-9139-46D0-B029-751B0EA550A9}"/>
              </a:ext>
            </a:extLst>
          </p:cNvPr>
          <p:cNvGraphicFramePr/>
          <p:nvPr>
            <p:custDataLst>
              <p:tags r:id="rId11"/>
            </p:custDataLst>
          </p:nvPr>
        </p:nvGraphicFramePr>
        <p:xfrm>
          <a:off x="1515748" y="3997065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8"/>
          </a:graphicData>
        </a:graphic>
      </p:graphicFrame>
      <p:graphicFrame>
        <p:nvGraphicFramePr>
          <p:cNvPr id="36" name="Graf 16">
            <a:extLst>
              <a:ext uri="{FF2B5EF4-FFF2-40B4-BE49-F238E27FC236}">
                <a16:creationId xmlns:a16="http://schemas.microsoft.com/office/drawing/2014/main" id="{6DEB7949-763A-40DA-B63C-FE897037DA76}"/>
              </a:ext>
            </a:extLst>
          </p:cNvPr>
          <p:cNvGraphicFramePr/>
          <p:nvPr>
            <p:custDataLst>
              <p:tags r:id="rId12"/>
            </p:custDataLst>
          </p:nvPr>
        </p:nvGraphicFramePr>
        <p:xfrm>
          <a:off x="4956188" y="4097122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9"/>
          </a:graphicData>
        </a:graphic>
      </p:graphicFrame>
      <p:graphicFrame>
        <p:nvGraphicFramePr>
          <p:cNvPr id="37" name="Graf 16">
            <a:extLst>
              <a:ext uri="{FF2B5EF4-FFF2-40B4-BE49-F238E27FC236}">
                <a16:creationId xmlns:a16="http://schemas.microsoft.com/office/drawing/2014/main" id="{3AB67F15-6F38-430D-A4EB-52989DEB4CB6}"/>
              </a:ext>
            </a:extLst>
          </p:cNvPr>
          <p:cNvGraphicFramePr/>
          <p:nvPr>
            <p:custDataLst>
              <p:tags r:id="rId13"/>
            </p:custDataLst>
          </p:nvPr>
        </p:nvGraphicFramePr>
        <p:xfrm>
          <a:off x="8562717" y="4097122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  <p:sp>
        <p:nvSpPr>
          <p:cNvPr id="27" name="Obdélník 26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 rot="16200000">
            <a:off x="-2822385" y="3409335"/>
            <a:ext cx="631299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testů na 100 tis. dětí v dané věkové skupině za dané časové období (suma za celý časový úsek)</a:t>
            </a:r>
          </a:p>
        </p:txBody>
      </p:sp>
      <p:sp>
        <p:nvSpPr>
          <p:cNvPr id="30" name="Obdélník 11">
            <a:extLst>
              <a:ext uri="{FF2B5EF4-FFF2-40B4-BE49-F238E27FC236}">
                <a16:creationId xmlns:a16="http://schemas.microsoft.com/office/drawing/2014/main" id="{F2791115-767B-49CC-9447-EF63B7164EC7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 rot="16200000">
            <a:off x="-128361" y="4681509"/>
            <a:ext cx="261036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Testy s epidemiologickou indikací </a:t>
            </a:r>
          </a:p>
        </p:txBody>
      </p:sp>
      <p:sp>
        <p:nvSpPr>
          <p:cNvPr id="31" name="Obdélník 11">
            <a:extLst>
              <a:ext uri="{FF2B5EF4-FFF2-40B4-BE49-F238E27FC236}">
                <a16:creationId xmlns:a16="http://schemas.microsoft.com/office/drawing/2014/main" id="{1D89C329-75F4-4B21-9699-DBED3E583FE2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 rot="16200000">
            <a:off x="-46432" y="1724028"/>
            <a:ext cx="234501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T</a:t>
            </a:r>
            <a:r>
              <a:rPr kumimoji="0" lang="en-US" sz="1800" b="1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sty</a:t>
            </a: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s diagnostickou nebo klinickou indikací</a:t>
            </a: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3765CE34-BA7B-4D0A-BDD0-7754F6E059CC}"/>
              </a:ext>
            </a:extLst>
          </p:cNvPr>
          <p:cNvSpPr txBox="1"/>
          <p:nvPr>
            <p:custDataLst>
              <p:tags r:id="rId17"/>
            </p:custDataLst>
          </p:nvPr>
        </p:nvSpPr>
        <p:spPr>
          <a:xfrm>
            <a:off x="3561431" y="5512348"/>
            <a:ext cx="69883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=1 051</a:t>
            </a: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395EB96D-4360-4A5F-BBA6-DD6970FBD8AF}"/>
              </a:ext>
            </a:extLst>
          </p:cNvPr>
          <p:cNvSpPr txBox="1"/>
          <p:nvPr>
            <p:custDataLst>
              <p:tags r:id="rId18"/>
            </p:custDataLst>
          </p:nvPr>
        </p:nvSpPr>
        <p:spPr>
          <a:xfrm>
            <a:off x="3639704" y="2513080"/>
            <a:ext cx="69883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=693</a:t>
            </a: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F59BA51D-7547-4F6A-AF8C-73B62C7974C3}"/>
              </a:ext>
            </a:extLst>
          </p:cNvPr>
          <p:cNvSpPr txBox="1"/>
          <p:nvPr>
            <p:custDataLst>
              <p:tags r:id="rId19"/>
            </p:custDataLst>
          </p:nvPr>
        </p:nvSpPr>
        <p:spPr>
          <a:xfrm>
            <a:off x="7062113" y="2555522"/>
            <a:ext cx="69883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=6 367</a:t>
            </a:r>
          </a:p>
        </p:txBody>
      </p: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CB50F700-BD9B-4F07-9F57-5ACB46BC8E81}"/>
              </a:ext>
            </a:extLst>
          </p:cNvPr>
          <p:cNvSpPr txBox="1"/>
          <p:nvPr>
            <p:custDataLst>
              <p:tags r:id="rId20"/>
            </p:custDataLst>
          </p:nvPr>
        </p:nvSpPr>
        <p:spPr>
          <a:xfrm>
            <a:off x="10374358" y="2513080"/>
            <a:ext cx="840997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=11 525</a:t>
            </a:r>
          </a:p>
        </p:txBody>
      </p:sp>
      <p:sp>
        <p:nvSpPr>
          <p:cNvPr id="38" name="TextovéPole 37">
            <a:extLst>
              <a:ext uri="{FF2B5EF4-FFF2-40B4-BE49-F238E27FC236}">
                <a16:creationId xmlns:a16="http://schemas.microsoft.com/office/drawing/2014/main" id="{2A38787E-9710-4D2A-A711-372AE644843A}"/>
              </a:ext>
            </a:extLst>
          </p:cNvPr>
          <p:cNvSpPr txBox="1"/>
          <p:nvPr>
            <p:custDataLst>
              <p:tags r:id="rId21"/>
            </p:custDataLst>
          </p:nvPr>
        </p:nvSpPr>
        <p:spPr>
          <a:xfrm>
            <a:off x="10399293" y="5606287"/>
            <a:ext cx="81606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=13 874</a:t>
            </a:r>
          </a:p>
        </p:txBody>
      </p:sp>
      <p:sp>
        <p:nvSpPr>
          <p:cNvPr id="39" name="TextovéPole 38">
            <a:extLst>
              <a:ext uri="{FF2B5EF4-FFF2-40B4-BE49-F238E27FC236}">
                <a16:creationId xmlns:a16="http://schemas.microsoft.com/office/drawing/2014/main" id="{4A9C1513-F4A3-42A4-BC61-9C1BE01CB4D7}"/>
              </a:ext>
            </a:extLst>
          </p:cNvPr>
          <p:cNvSpPr txBox="1"/>
          <p:nvPr>
            <p:custDataLst>
              <p:tags r:id="rId22"/>
            </p:custDataLst>
          </p:nvPr>
        </p:nvSpPr>
        <p:spPr>
          <a:xfrm>
            <a:off x="6890382" y="5608432"/>
            <a:ext cx="77911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=10 310</a:t>
            </a:r>
          </a:p>
        </p:txBody>
      </p:sp>
    </p:spTree>
    <p:extLst>
      <p:ext uri="{BB962C8B-B14F-4D97-AF65-F5344CB8AC3E}">
        <p14:creationId xmlns:p14="http://schemas.microsoft.com/office/powerpoint/2010/main" val="3114924111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98F308F-8B97-4E6E-A76A-3F0B3FCE256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99315" y="3672821"/>
            <a:ext cx="8050306" cy="33259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08A00E16-03C7-47EB-BFF1-4816E8247AF8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71824" y="1253263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>
                <a:latin typeface="+mn-lt"/>
              </a:rPr>
              <a:t>Nové případy za </a:t>
            </a:r>
            <a:r>
              <a:rPr lang="en-US" sz="2000" dirty="0">
                <a:latin typeface="+mn-lt"/>
              </a:rPr>
              <a:t>7</a:t>
            </a:r>
            <a:r>
              <a:rPr lang="pl-PL" sz="2000" dirty="0">
                <a:latin typeface="+mn-lt"/>
              </a:rPr>
              <a:t> dní na 100 000 obyvatel: srovnání krajů k 28.</a:t>
            </a:r>
            <a:r>
              <a:rPr lang="en-US" sz="2000" dirty="0">
                <a:latin typeface="+mn-lt"/>
              </a:rPr>
              <a:t>5</a:t>
            </a:r>
            <a:r>
              <a:rPr lang="pl-PL" sz="2000" dirty="0">
                <a:latin typeface="+mn-lt"/>
              </a:rPr>
              <a:t>.</a:t>
            </a:r>
            <a:r>
              <a:rPr lang="en-US" sz="2000" dirty="0">
                <a:latin typeface="+mn-lt"/>
              </a:rPr>
              <a:t>: 0</a:t>
            </a:r>
            <a:r>
              <a:rPr lang="cs-CZ" sz="2000" dirty="0">
                <a:latin typeface="+mn-lt"/>
              </a:rPr>
              <a:t>–</a:t>
            </a:r>
            <a:r>
              <a:rPr lang="en-US" sz="2000" dirty="0">
                <a:latin typeface="+mn-lt"/>
              </a:rPr>
              <a:t>4 let</a:t>
            </a:r>
            <a:endParaRPr lang="cs-CZ" sz="2000" dirty="0">
              <a:latin typeface="+mn-lt"/>
            </a:endParaRP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CE85FA95-C1A5-4C64-9392-6663D81F7BAD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5037332" y="1253263"/>
          <a:ext cx="3740410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15" name="Rectangle 14">
            <a:extLst>
              <a:ext uri="{FF2B5EF4-FFF2-40B4-BE49-F238E27FC236}">
                <a16:creationId xmlns:a16="http://schemas.microsoft.com/office/drawing/2014/main" id="{FF703C0B-9F55-4E7D-AB33-CC7F35F8E1C9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6426341" y="904061"/>
            <a:ext cx="180000" cy="1800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9493C1B-0E57-4EEE-BDE7-3CD426FEEC7C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5164965" y="904061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AC99AA1-AE13-4028-BD9E-E6A0DCA21FDA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6605523" y="840172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4.2021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2D6FDF4-9B38-4E3D-886C-CED72EB7981C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5409901" y="840172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.3.2021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598A358-90FD-454C-9CE9-E00A52C21BB5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7530255" y="897533"/>
            <a:ext cx="180000" cy="180000"/>
          </a:xfrm>
          <a:prstGeom prst="rect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A39769A-120C-4CE2-8E85-73A08F37D749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7709437" y="833644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.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2021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8920617" y="1727136"/>
            <a:ext cx="3052308" cy="4708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lesající počet nově nakažených dětí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e věku 0 – 4 let je mezi 13.4. a 28.5. registrován ve všech krajích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 Libereckém kraji došlo mezi 1.5. a 28.5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írnému navýšení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čtu nových případů, přičemž jde o kraj </a:t>
            </a:r>
            <a:b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 nejvyšším 7denním počtem pozitivních záchytů na 100tis. dětí v této věkové kategorii. </a:t>
            </a:r>
          </a:p>
        </p:txBody>
      </p:sp>
      <p:sp>
        <p:nvSpPr>
          <p:cNvPr id="13" name="Rectangle 20">
            <a:extLst>
              <a:ext uri="{FF2B5EF4-FFF2-40B4-BE49-F238E27FC236}">
                <a16:creationId xmlns:a16="http://schemas.microsoft.com/office/drawing/2014/main" id="{D48701E7-F1B4-4F9C-8212-C3B874209266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8549748" y="904061"/>
            <a:ext cx="180000" cy="1800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TextBox 21">
            <a:extLst>
              <a:ext uri="{FF2B5EF4-FFF2-40B4-BE49-F238E27FC236}">
                <a16:creationId xmlns:a16="http://schemas.microsoft.com/office/drawing/2014/main" id="{1C140140-1983-45CC-A10B-066345AEDC35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8729748" y="833644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8.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2021</a:t>
            </a:r>
          </a:p>
        </p:txBody>
      </p:sp>
    </p:spTree>
    <p:extLst>
      <p:ext uri="{BB962C8B-B14F-4D97-AF65-F5344CB8AC3E}">
        <p14:creationId xmlns:p14="http://schemas.microsoft.com/office/powerpoint/2010/main" val="4294025319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98F308F-8B97-4E6E-A76A-3F0B3FCE256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55986" y="4014337"/>
            <a:ext cx="8050306" cy="31433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08A00E16-03C7-47EB-BFF1-4816E8247AF8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71824" y="1253263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>
                <a:latin typeface="+mn-lt"/>
              </a:rPr>
              <a:t>Nové případy za </a:t>
            </a:r>
            <a:r>
              <a:rPr lang="en-US" sz="2000" dirty="0">
                <a:latin typeface="+mn-lt"/>
              </a:rPr>
              <a:t>7</a:t>
            </a:r>
            <a:r>
              <a:rPr lang="pl-PL" sz="2000" dirty="0">
                <a:latin typeface="+mn-lt"/>
              </a:rPr>
              <a:t> dní na 100 000 obyvatel: srovnání krajů k 28.</a:t>
            </a:r>
            <a:r>
              <a:rPr lang="en-US" sz="2000" dirty="0">
                <a:latin typeface="+mn-lt"/>
              </a:rPr>
              <a:t>5</a:t>
            </a:r>
            <a:r>
              <a:rPr lang="pl-PL" sz="2000" dirty="0">
                <a:latin typeface="+mn-lt"/>
              </a:rPr>
              <a:t>.</a:t>
            </a:r>
            <a:r>
              <a:rPr lang="en-US" sz="2000" dirty="0">
                <a:latin typeface="+mn-lt"/>
              </a:rPr>
              <a:t>: 5</a:t>
            </a:r>
            <a:r>
              <a:rPr lang="cs-CZ" sz="2000" dirty="0">
                <a:latin typeface="+mn-lt"/>
              </a:rPr>
              <a:t>–</a:t>
            </a:r>
            <a:r>
              <a:rPr lang="en-US" sz="2000" dirty="0">
                <a:latin typeface="+mn-lt"/>
              </a:rPr>
              <a:t>11 let</a:t>
            </a:r>
            <a:endParaRPr lang="cs-CZ" sz="2000" dirty="0">
              <a:latin typeface="+mn-lt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AC99AA1-AE13-4028-BD9E-E6A0DCA21FDA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6605523" y="840172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4.2021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2D6FDF4-9B38-4E3D-886C-CED72EB7981C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409901" y="840172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.3.2021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A39769A-120C-4CE2-8E85-73A08F37D749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7709437" y="833644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.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2021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549748" y="2073328"/>
            <a:ext cx="3270777" cy="40934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čty nově nakažených dětí ve věku 5 – 11 let mezi 13.4. a 28.5., a rovněž mezi 1.5. a 28.5., ve všech krajích klesají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výšený 7denní počet pozitivních záchytů </a:t>
            </a:r>
            <a:b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a 100tis. dětí v této věkové kategorii registrují kraje Zlínský a Moravskoslezský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</p:txBody>
      </p:sp>
      <p:graphicFrame>
        <p:nvGraphicFramePr>
          <p:cNvPr id="13" name="Chart 5">
            <a:extLst>
              <a:ext uri="{FF2B5EF4-FFF2-40B4-BE49-F238E27FC236}">
                <a16:creationId xmlns:a16="http://schemas.microsoft.com/office/drawing/2014/main" id="{6FB5FCE5-711C-4C26-8879-27C613FC76D5}"/>
              </a:ext>
            </a:extLst>
          </p:cNvPr>
          <p:cNvGraphicFramePr/>
          <p:nvPr>
            <p:custDataLst>
              <p:tags r:id="rId8"/>
            </p:custDataLst>
          </p:nvPr>
        </p:nvGraphicFramePr>
        <p:xfrm>
          <a:off x="4849396" y="1253263"/>
          <a:ext cx="3740410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19" name="Rectangle 14">
            <a:extLst>
              <a:ext uri="{FF2B5EF4-FFF2-40B4-BE49-F238E27FC236}">
                <a16:creationId xmlns:a16="http://schemas.microsoft.com/office/drawing/2014/main" id="{917AEC26-943C-4BAF-A0AF-9551675FCB68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6426341" y="904061"/>
            <a:ext cx="180000" cy="1800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Rectangle 15">
            <a:extLst>
              <a:ext uri="{FF2B5EF4-FFF2-40B4-BE49-F238E27FC236}">
                <a16:creationId xmlns:a16="http://schemas.microsoft.com/office/drawing/2014/main" id="{F7C36DEF-778B-4375-AA60-A601C49BBA0E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5164965" y="904061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Rectangle 20">
            <a:extLst>
              <a:ext uri="{FF2B5EF4-FFF2-40B4-BE49-F238E27FC236}">
                <a16:creationId xmlns:a16="http://schemas.microsoft.com/office/drawing/2014/main" id="{09D08931-F140-400B-AEF1-5ED5FBA4931C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7530255" y="897533"/>
            <a:ext cx="180000" cy="180000"/>
          </a:xfrm>
          <a:prstGeom prst="rect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Rectangle 20">
            <a:extLst>
              <a:ext uri="{FF2B5EF4-FFF2-40B4-BE49-F238E27FC236}">
                <a16:creationId xmlns:a16="http://schemas.microsoft.com/office/drawing/2014/main" id="{3BDA947B-5EF2-4284-B5B5-03EB0325FFDA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8549748" y="904061"/>
            <a:ext cx="180000" cy="1800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TextBox 21">
            <a:extLst>
              <a:ext uri="{FF2B5EF4-FFF2-40B4-BE49-F238E27FC236}">
                <a16:creationId xmlns:a16="http://schemas.microsoft.com/office/drawing/2014/main" id="{54B0F530-38B8-4DA9-A11D-B8541C2A2965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8729748" y="833644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8.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2021</a:t>
            </a:r>
          </a:p>
        </p:txBody>
      </p:sp>
    </p:spTree>
    <p:extLst>
      <p:ext uri="{BB962C8B-B14F-4D97-AF65-F5344CB8AC3E}">
        <p14:creationId xmlns:p14="http://schemas.microsoft.com/office/powerpoint/2010/main" val="2537841961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98F308F-8B97-4E6E-A76A-3F0B3FCE256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9556" y="4034343"/>
            <a:ext cx="8050306" cy="3008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08A00E16-03C7-47EB-BFF1-4816E8247AF8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71824" y="1253263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>
                <a:latin typeface="+mn-lt"/>
              </a:rPr>
              <a:t>Nové případy za </a:t>
            </a:r>
            <a:r>
              <a:rPr lang="en-US" sz="2000" dirty="0">
                <a:latin typeface="+mn-lt"/>
              </a:rPr>
              <a:t>7</a:t>
            </a:r>
            <a:r>
              <a:rPr lang="pl-PL" sz="2000" dirty="0">
                <a:latin typeface="+mn-lt"/>
              </a:rPr>
              <a:t> dní na 100 000 obyvatel: srovnání krajů k 28.</a:t>
            </a:r>
            <a:r>
              <a:rPr lang="en-US" sz="2000" dirty="0">
                <a:latin typeface="+mn-lt"/>
              </a:rPr>
              <a:t>5</a:t>
            </a:r>
            <a:r>
              <a:rPr lang="pl-PL" sz="2000" dirty="0">
                <a:latin typeface="+mn-lt"/>
              </a:rPr>
              <a:t>.</a:t>
            </a:r>
            <a:r>
              <a:rPr lang="en-US" sz="2000" dirty="0">
                <a:latin typeface="+mn-lt"/>
              </a:rPr>
              <a:t>: 12</a:t>
            </a:r>
            <a:r>
              <a:rPr lang="cs-CZ" sz="2000" dirty="0">
                <a:latin typeface="+mn-lt"/>
              </a:rPr>
              <a:t>–</a:t>
            </a:r>
            <a:r>
              <a:rPr lang="en-US" sz="2000" dirty="0">
                <a:latin typeface="+mn-lt"/>
              </a:rPr>
              <a:t>19 let</a:t>
            </a:r>
            <a:endParaRPr lang="cs-CZ" sz="2000" dirty="0">
              <a:latin typeface="+mn-lt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F703C0B-9F55-4E7D-AB33-CC7F35F8E1C9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6426341" y="904061"/>
            <a:ext cx="180000" cy="1800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9493C1B-0E57-4EEE-BDE7-3CD426FEEC7C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5164965" y="904061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598A358-90FD-454C-9CE9-E00A52C21BB5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530255" y="897533"/>
            <a:ext cx="180000" cy="180000"/>
          </a:xfrm>
          <a:prstGeom prst="rect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24725A0A-299D-4402-8473-3C63C6E51027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729748" y="1893233"/>
            <a:ext cx="3427591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čty nově nakažených dětí ve věku 12 – 19 let mezi 13.4. a 28.5., a rovněž mezi 1.5. a 28.5., ve všech krajích klesají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výšený 7denní počet pozitivních záchytů </a:t>
            </a:r>
            <a:b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a 100tis. dětí v této věkové kategorii registruje především kraj Jihočeský.</a:t>
            </a:r>
          </a:p>
        </p:txBody>
      </p:sp>
      <p:graphicFrame>
        <p:nvGraphicFramePr>
          <p:cNvPr id="14" name="Chart 5">
            <a:extLst>
              <a:ext uri="{FF2B5EF4-FFF2-40B4-BE49-F238E27FC236}">
                <a16:creationId xmlns:a16="http://schemas.microsoft.com/office/drawing/2014/main" id="{65FD74B0-BFEF-4240-A12D-B991B7F246B1}"/>
              </a:ext>
            </a:extLst>
          </p:cNvPr>
          <p:cNvGraphicFramePr/>
          <p:nvPr>
            <p:custDataLst>
              <p:tags r:id="rId8"/>
            </p:custDataLst>
          </p:nvPr>
        </p:nvGraphicFramePr>
        <p:xfrm>
          <a:off x="4989338" y="1253263"/>
          <a:ext cx="3740410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sp>
        <p:nvSpPr>
          <p:cNvPr id="19" name="TextBox 16">
            <a:extLst>
              <a:ext uri="{FF2B5EF4-FFF2-40B4-BE49-F238E27FC236}">
                <a16:creationId xmlns:a16="http://schemas.microsoft.com/office/drawing/2014/main" id="{49DD5679-FB51-41D3-B6F9-89ECAD0AA80E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6605523" y="840172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4.2021</a:t>
            </a:r>
          </a:p>
        </p:txBody>
      </p:sp>
      <p:sp>
        <p:nvSpPr>
          <p:cNvPr id="20" name="TextBox 17">
            <a:extLst>
              <a:ext uri="{FF2B5EF4-FFF2-40B4-BE49-F238E27FC236}">
                <a16:creationId xmlns:a16="http://schemas.microsoft.com/office/drawing/2014/main" id="{AA2AF1B9-964B-4451-BED5-A91D3BA022D4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5409901" y="840172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.3.2021</a:t>
            </a:r>
          </a:p>
        </p:txBody>
      </p:sp>
      <p:sp>
        <p:nvSpPr>
          <p:cNvPr id="24" name="TextBox 21">
            <a:extLst>
              <a:ext uri="{FF2B5EF4-FFF2-40B4-BE49-F238E27FC236}">
                <a16:creationId xmlns:a16="http://schemas.microsoft.com/office/drawing/2014/main" id="{07B47C78-2DF9-4B3E-BB33-B6B7E6F42C8A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7709437" y="833644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.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2021</a:t>
            </a:r>
          </a:p>
        </p:txBody>
      </p:sp>
      <p:sp>
        <p:nvSpPr>
          <p:cNvPr id="25" name="Rectangle 14">
            <a:extLst>
              <a:ext uri="{FF2B5EF4-FFF2-40B4-BE49-F238E27FC236}">
                <a16:creationId xmlns:a16="http://schemas.microsoft.com/office/drawing/2014/main" id="{2FD59DF9-D173-45BA-A7B7-9793ED6E4712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6426341" y="904061"/>
            <a:ext cx="180000" cy="1800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Rectangle 15">
            <a:extLst>
              <a:ext uri="{FF2B5EF4-FFF2-40B4-BE49-F238E27FC236}">
                <a16:creationId xmlns:a16="http://schemas.microsoft.com/office/drawing/2014/main" id="{C06A69B2-B455-46C3-AAF9-9E1582D02E8D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5164965" y="904061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" name="Rectangle 20">
            <a:extLst>
              <a:ext uri="{FF2B5EF4-FFF2-40B4-BE49-F238E27FC236}">
                <a16:creationId xmlns:a16="http://schemas.microsoft.com/office/drawing/2014/main" id="{28197353-E87D-4843-92C6-B53E5C792A3E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7530255" y="897533"/>
            <a:ext cx="180000" cy="180000"/>
          </a:xfrm>
          <a:prstGeom prst="rect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Rectangle 20">
            <a:extLst>
              <a:ext uri="{FF2B5EF4-FFF2-40B4-BE49-F238E27FC236}">
                <a16:creationId xmlns:a16="http://schemas.microsoft.com/office/drawing/2014/main" id="{950B1CED-E1EB-4514-A55F-35A587666370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8549748" y="904061"/>
            <a:ext cx="180000" cy="1800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TextBox 21">
            <a:extLst>
              <a:ext uri="{FF2B5EF4-FFF2-40B4-BE49-F238E27FC236}">
                <a16:creationId xmlns:a16="http://schemas.microsoft.com/office/drawing/2014/main" id="{AC523703-45E9-42CF-9603-6A0CE7BB9CA8}"/>
              </a:ext>
            </a:extLst>
          </p:cNvPr>
          <p:cNvSpPr txBox="1"/>
          <p:nvPr>
            <p:custDataLst>
              <p:tags r:id="rId16"/>
            </p:custDataLst>
          </p:nvPr>
        </p:nvSpPr>
        <p:spPr>
          <a:xfrm>
            <a:off x="8729748" y="833644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8.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2021</a:t>
            </a:r>
          </a:p>
        </p:txBody>
      </p:sp>
    </p:spTree>
    <p:extLst>
      <p:ext uri="{BB962C8B-B14F-4D97-AF65-F5344CB8AC3E}">
        <p14:creationId xmlns:p14="http://schemas.microsoft.com/office/powerpoint/2010/main" val="4266878694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3D48422-1472-2B43-AFF4-50C66979EA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8247" y="2069359"/>
            <a:ext cx="11490037" cy="1325563"/>
          </a:xfrm>
        </p:spPr>
        <p:txBody>
          <a:bodyPr>
            <a:noAutofit/>
          </a:bodyPr>
          <a:lstStyle/>
          <a:p>
            <a:pPr algn="ctr"/>
            <a:r>
              <a:rPr lang="en-CZ" sz="3400" b="1" dirty="0"/>
              <a:t/>
            </a:r>
            <a:br>
              <a:rPr lang="en-CZ" sz="3400" b="1" dirty="0"/>
            </a:br>
            <a:r>
              <a:rPr lang="cs-CZ" sz="6000" b="1" dirty="0">
                <a:latin typeface="+mn-lt"/>
              </a:rPr>
              <a:t>DĚKUJI ZA POZORNOST</a:t>
            </a:r>
            <a:endParaRPr lang="en-CZ" sz="6000" b="1" dirty="0"/>
          </a:p>
        </p:txBody>
      </p:sp>
    </p:spTree>
    <p:extLst>
      <p:ext uri="{BB962C8B-B14F-4D97-AF65-F5344CB8AC3E}">
        <p14:creationId xmlns:p14="http://schemas.microsoft.com/office/powerpoint/2010/main" val="51715837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143346" y="3693109"/>
            <a:ext cx="11905307" cy="2317166"/>
          </a:xfrm>
        </p:spPr>
        <p:txBody>
          <a:bodyPr>
            <a:normAutofit/>
          </a:bodyPr>
          <a:lstStyle/>
          <a:p>
            <a:r>
              <a:rPr lang="cs-CZ" sz="4800" b="1" dirty="0"/>
              <a:t>Vývoj v regionech </a:t>
            </a:r>
          </a:p>
          <a:p>
            <a:r>
              <a:rPr lang="cs-CZ" sz="4800" b="1" i="1" dirty="0"/>
              <a:t>- Identifikace rizik - </a:t>
            </a:r>
            <a:endParaRPr lang="cs-CZ" sz="4600" i="1" dirty="0"/>
          </a:p>
        </p:txBody>
      </p:sp>
    </p:spTree>
    <p:extLst>
      <p:ext uri="{BB962C8B-B14F-4D97-AF65-F5344CB8AC3E}">
        <p14:creationId xmlns:p14="http://schemas.microsoft.com/office/powerpoint/2010/main" val="295199461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9211" y="0"/>
            <a:ext cx="10125069" cy="576000"/>
          </a:xfrm>
        </p:spPr>
        <p:txBody>
          <a:bodyPr/>
          <a:lstStyle/>
          <a:p>
            <a:r>
              <a:rPr lang="cs-CZ" dirty="0"/>
              <a:t>7 denní počet nových případů (na 100 000 obyv.)</a:t>
            </a:r>
            <a:r>
              <a:rPr lang="en-US" dirty="0"/>
              <a:t> v </a:t>
            </a:r>
            <a:r>
              <a:rPr lang="en-US" dirty="0" err="1"/>
              <a:t>okresech</a:t>
            </a:r>
            <a:endParaRPr lang="cs-CZ" dirty="0">
              <a:latin typeface="+mj-lt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BE080D6-FC53-427A-9C73-FAC7AD1D2FC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0830047" y="3193338"/>
            <a:ext cx="180000" cy="180000"/>
          </a:xfrm>
          <a:prstGeom prst="rect">
            <a:avLst/>
          </a:prstGeom>
          <a:solidFill>
            <a:srgbClr val="2B83BA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E4925A4-86A9-42E1-B474-EC1CB00F06FB}"/>
              </a:ext>
            </a:extLst>
          </p:cNvPr>
          <p:cNvSpPr/>
          <p:nvPr/>
        </p:nvSpPr>
        <p:spPr>
          <a:xfrm>
            <a:off x="10830047" y="3502064"/>
            <a:ext cx="180000" cy="180000"/>
          </a:xfrm>
          <a:prstGeom prst="rect">
            <a:avLst/>
          </a:prstGeom>
          <a:solidFill>
            <a:srgbClr val="80BFAB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31920F6-822D-4D8E-9016-3491B8DD67F4}"/>
              </a:ext>
            </a:extLst>
          </p:cNvPr>
          <p:cNvSpPr/>
          <p:nvPr/>
        </p:nvSpPr>
        <p:spPr>
          <a:xfrm>
            <a:off x="10830047" y="3810790"/>
            <a:ext cx="180000" cy="180000"/>
          </a:xfrm>
          <a:prstGeom prst="rect">
            <a:avLst/>
          </a:prstGeom>
          <a:solidFill>
            <a:srgbClr val="C7E8AD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3996B81-667A-401C-967B-28C2A48E23CC}"/>
              </a:ext>
            </a:extLst>
          </p:cNvPr>
          <p:cNvSpPr/>
          <p:nvPr/>
        </p:nvSpPr>
        <p:spPr>
          <a:xfrm>
            <a:off x="10830047" y="4119516"/>
            <a:ext cx="180000" cy="180000"/>
          </a:xfrm>
          <a:prstGeom prst="rect">
            <a:avLst/>
          </a:prstGeom>
          <a:solidFill>
            <a:srgbClr val="E2E22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2DB380-5F7C-460F-BFDA-86D337A8CFE1}"/>
              </a:ext>
            </a:extLst>
          </p:cNvPr>
          <p:cNvSpPr/>
          <p:nvPr/>
        </p:nvSpPr>
        <p:spPr>
          <a:xfrm>
            <a:off x="10830047" y="4428242"/>
            <a:ext cx="180000" cy="180000"/>
          </a:xfrm>
          <a:prstGeom prst="rect">
            <a:avLst/>
          </a:prstGeom>
          <a:solidFill>
            <a:srgbClr val="FEAB4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08FD43E-EE03-4737-A366-C1F7D775579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1069804" y="3098672"/>
            <a:ext cx="98296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cs-CZ" sz="1600" dirty="0">
                <a:solidFill>
                  <a:srgbClr val="000000"/>
                </a:solidFill>
                <a:latin typeface="Arial" panose="020B0604020202020204"/>
              </a:rPr>
              <a:t>5</a:t>
            </a:r>
            <a:r>
              <a:rPr lang="en-US" sz="1600" dirty="0">
                <a:solidFill>
                  <a:srgbClr val="000000"/>
                </a:solidFill>
                <a:latin typeface="Arial" panose="020B0604020202020204"/>
              </a:rPr>
              <a:t>0 – </a:t>
            </a:r>
            <a:r>
              <a:rPr lang="cs-CZ" sz="1600" dirty="0">
                <a:solidFill>
                  <a:srgbClr val="000000"/>
                </a:solidFill>
                <a:latin typeface="Arial" panose="020B0604020202020204"/>
              </a:rPr>
              <a:t>1</a:t>
            </a:r>
            <a:r>
              <a:rPr lang="en-US" sz="1600" dirty="0">
                <a:solidFill>
                  <a:srgbClr val="000000"/>
                </a:solidFill>
                <a:latin typeface="Arial" panose="020B0604020202020204"/>
              </a:rPr>
              <a:t>00</a:t>
            </a:r>
            <a:endParaRPr lang="cs-CZ" sz="1600" dirty="0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B654345-6D6F-4D0F-813B-A10AFB3293A9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1069804" y="3409962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00 – 2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ECECFEB-BD0B-4FAF-9B8B-C8A903E5C1DE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1069804" y="3721252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0 – 3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14133F7-D8D6-4D0C-B56B-CAC8C40EE25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1069804" y="4032542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0 – 4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0DDF93-0D60-4DCB-A93B-533691C52B6E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1069804" y="4343832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00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B48D847-A97F-4AAA-A08B-55218BF2B7F5}"/>
              </a:ext>
            </a:extLst>
          </p:cNvPr>
          <p:cNvSpPr/>
          <p:nvPr/>
        </p:nvSpPr>
        <p:spPr>
          <a:xfrm>
            <a:off x="10830047" y="4736967"/>
            <a:ext cx="180000" cy="180000"/>
          </a:xfrm>
          <a:prstGeom prst="rect">
            <a:avLst/>
          </a:prstGeom>
          <a:solidFill>
            <a:srgbClr val="F12E15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0FDD93D-9CA2-41FC-953B-E1DA3769E12D}"/>
              </a:ext>
            </a:extLst>
          </p:cNvPr>
          <p:cNvSpPr/>
          <p:nvPr/>
        </p:nvSpPr>
        <p:spPr>
          <a:xfrm>
            <a:off x="10830047" y="5045691"/>
            <a:ext cx="180000" cy="180000"/>
          </a:xfrm>
          <a:prstGeom prst="rect">
            <a:avLst/>
          </a:prstGeom>
          <a:solidFill>
            <a:srgbClr val="AA131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07D8BB-886C-4DD8-BE83-D1D89236D7C4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11069804" y="4655122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6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2588280-9570-4C47-854B-55E5855520E2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1069804" y="4966414"/>
            <a:ext cx="7040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gt; 6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TextBox 29">
            <a:extLst>
              <a:ext uri="{FF2B5EF4-FFF2-40B4-BE49-F238E27FC236}">
                <a16:creationId xmlns:a16="http://schemas.microsoft.com/office/drawing/2014/main" id="{743A9488-A89A-4239-AEC7-502354C0E771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209211" y="849867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.4.2021</a:t>
            </a:r>
          </a:p>
        </p:txBody>
      </p:sp>
      <p:sp>
        <p:nvSpPr>
          <p:cNvPr id="27" name="TextBox 29">
            <a:extLst>
              <a:ext uri="{FF2B5EF4-FFF2-40B4-BE49-F238E27FC236}">
                <a16:creationId xmlns:a16="http://schemas.microsoft.com/office/drawing/2014/main" id="{87E38982-83E6-4A31-90DE-9A4BA4279091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3726318" y="807272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1.4.2021</a:t>
            </a:r>
          </a:p>
        </p:txBody>
      </p:sp>
      <p:sp>
        <p:nvSpPr>
          <p:cNvPr id="25" name="TextBox 29">
            <a:extLst>
              <a:ext uri="{FF2B5EF4-FFF2-40B4-BE49-F238E27FC236}">
                <a16:creationId xmlns:a16="http://schemas.microsoft.com/office/drawing/2014/main" id="{7CA4E8C6-F25D-45BE-B535-EB83BEB6C699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7352482" y="807272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6.4.2021</a:t>
            </a:r>
          </a:p>
        </p:txBody>
      </p:sp>
      <p:sp>
        <p:nvSpPr>
          <p:cNvPr id="28" name="TextBox 29">
            <a:extLst>
              <a:ext uri="{FF2B5EF4-FFF2-40B4-BE49-F238E27FC236}">
                <a16:creationId xmlns:a16="http://schemas.microsoft.com/office/drawing/2014/main" id="{3DBBC5FB-25FD-4F7C-9593-FB03C44F6922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209211" y="3823736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9.4.2021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8D61F06-E564-4806-8691-3AC255200BE8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10830047" y="2918672"/>
            <a:ext cx="180000" cy="180000"/>
          </a:xfrm>
          <a:prstGeom prst="rect">
            <a:avLst/>
          </a:prstGeom>
          <a:solidFill>
            <a:srgbClr val="4CB9F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2186B9F7-F8F7-4F40-BFDF-925ACE69CA58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11069803" y="2854784"/>
            <a:ext cx="59022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600" dirty="0">
                <a:solidFill>
                  <a:srgbClr val="000000"/>
                </a:solidFill>
                <a:latin typeface="Arial" panose="020B0604020202020204"/>
              </a:rPr>
              <a:t>&lt; </a:t>
            </a:r>
            <a:r>
              <a:rPr lang="cs-CZ" sz="1600" dirty="0">
                <a:solidFill>
                  <a:srgbClr val="000000"/>
                </a:solidFill>
                <a:latin typeface="Arial" panose="020B0604020202020204"/>
              </a:rPr>
              <a:t>5</a:t>
            </a:r>
            <a:r>
              <a:rPr lang="en-US" sz="1600" dirty="0">
                <a:solidFill>
                  <a:srgbClr val="000000"/>
                </a:solidFill>
                <a:latin typeface="Arial" panose="020B0604020202020204"/>
              </a:rPr>
              <a:t>0</a:t>
            </a:r>
            <a:endParaRPr lang="cs-CZ" sz="1600" dirty="0">
              <a:solidFill>
                <a:srgbClr val="000000"/>
              </a:solidFill>
              <a:latin typeface="Arial" panose="020B0604020202020204"/>
            </a:endParaRPr>
          </a:p>
        </p:txBody>
      </p:sp>
      <p:pic>
        <p:nvPicPr>
          <p:cNvPr id="22" name="Picture 21" descr="Map&#10;&#10;Description automatically generated">
            <a:extLst>
              <a:ext uri="{FF2B5EF4-FFF2-40B4-BE49-F238E27FC236}">
                <a16:creationId xmlns:a16="http://schemas.microsoft.com/office/drawing/2014/main" id="{242FD362-1BE1-449A-90F2-F2D73360B4D2}"/>
              </a:ext>
            </a:extLst>
          </p:cNvPr>
          <p:cNvPicPr>
            <a:picLocks noChangeAspect="1"/>
          </p:cNvPicPr>
          <p:nvPr>
            <p:custDataLst>
              <p:tags r:id="rId16"/>
            </p:custDataLst>
          </p:nvPr>
        </p:nvPicPr>
        <p:blipFill rotWithShape="1">
          <a:blip r:embed="rId2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88" r="10139"/>
          <a:stretch/>
        </p:blipFill>
        <p:spPr>
          <a:xfrm>
            <a:off x="25421" y="1269000"/>
            <a:ext cx="3408594" cy="2160000"/>
          </a:xfrm>
          <a:prstGeom prst="rect">
            <a:avLst/>
          </a:prstGeom>
        </p:spPr>
      </p:pic>
      <p:pic>
        <p:nvPicPr>
          <p:cNvPr id="34" name="Picture 33" descr="Map&#10;&#10;Description automatically generated">
            <a:extLst>
              <a:ext uri="{FF2B5EF4-FFF2-40B4-BE49-F238E27FC236}">
                <a16:creationId xmlns:a16="http://schemas.microsoft.com/office/drawing/2014/main" id="{A098708D-3CF6-46C6-892B-DBE5B934C984}"/>
              </a:ext>
            </a:extLst>
          </p:cNvPr>
          <p:cNvPicPr>
            <a:picLocks noChangeAspect="1"/>
          </p:cNvPicPr>
          <p:nvPr>
            <p:custDataLst>
              <p:tags r:id="rId17"/>
            </p:custDataLst>
          </p:nvPr>
        </p:nvPicPr>
        <p:blipFill rotWithShape="1">
          <a:blip r:embed="rId2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18" r="10138"/>
          <a:stretch/>
        </p:blipFill>
        <p:spPr>
          <a:xfrm>
            <a:off x="3493771" y="1277226"/>
            <a:ext cx="3411439" cy="2160000"/>
          </a:xfrm>
          <a:prstGeom prst="rect">
            <a:avLst/>
          </a:prstGeom>
        </p:spPr>
      </p:pic>
      <p:pic>
        <p:nvPicPr>
          <p:cNvPr id="36" name="Picture 35" descr="Map&#10;&#10;Description automatically generated">
            <a:extLst>
              <a:ext uri="{FF2B5EF4-FFF2-40B4-BE49-F238E27FC236}">
                <a16:creationId xmlns:a16="http://schemas.microsoft.com/office/drawing/2014/main" id="{A41A144F-BB34-4D14-A657-83516FD11406}"/>
              </a:ext>
            </a:extLst>
          </p:cNvPr>
          <p:cNvPicPr>
            <a:picLocks noChangeAspect="1"/>
          </p:cNvPicPr>
          <p:nvPr>
            <p:custDataLst>
              <p:tags r:id="rId18"/>
            </p:custDataLst>
          </p:nvPr>
        </p:nvPicPr>
        <p:blipFill rotWithShape="1">
          <a:blip r:embed="rId2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38" r="10138"/>
          <a:stretch/>
        </p:blipFill>
        <p:spPr>
          <a:xfrm>
            <a:off x="7042943" y="1277226"/>
            <a:ext cx="3394368" cy="2160000"/>
          </a:xfrm>
          <a:prstGeom prst="rect">
            <a:avLst/>
          </a:prstGeom>
        </p:spPr>
      </p:pic>
      <p:pic>
        <p:nvPicPr>
          <p:cNvPr id="40" name="Picture 39" descr="Map&#10;&#10;Description automatically generated">
            <a:extLst>
              <a:ext uri="{FF2B5EF4-FFF2-40B4-BE49-F238E27FC236}">
                <a16:creationId xmlns:a16="http://schemas.microsoft.com/office/drawing/2014/main" id="{58C29F3E-6DC8-41AC-9E38-6D4C7B82EE2B}"/>
              </a:ext>
            </a:extLst>
          </p:cNvPr>
          <p:cNvPicPr>
            <a:picLocks noChangeAspect="1"/>
          </p:cNvPicPr>
          <p:nvPr>
            <p:custDataLst>
              <p:tags r:id="rId19"/>
            </p:custDataLst>
          </p:nvPr>
        </p:nvPicPr>
        <p:blipFill rotWithShape="1">
          <a:blip r:embed="rId2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88" r="10139"/>
          <a:stretch/>
        </p:blipFill>
        <p:spPr>
          <a:xfrm>
            <a:off x="170333" y="4330643"/>
            <a:ext cx="3408594" cy="2160000"/>
          </a:xfrm>
          <a:prstGeom prst="rect">
            <a:avLst/>
          </a:prstGeom>
        </p:spPr>
      </p:pic>
      <p:sp>
        <p:nvSpPr>
          <p:cNvPr id="29" name="TextBox 29">
            <a:extLst>
              <a:ext uri="{FF2B5EF4-FFF2-40B4-BE49-F238E27FC236}">
                <a16:creationId xmlns:a16="http://schemas.microsoft.com/office/drawing/2014/main" id="{0835FFC6-D4A4-4EFB-89C7-AD533F1516FD}"/>
              </a:ext>
            </a:extLst>
          </p:cNvPr>
          <p:cNvSpPr txBox="1"/>
          <p:nvPr>
            <p:custDataLst>
              <p:tags r:id="rId20"/>
            </p:custDataLst>
          </p:nvPr>
        </p:nvSpPr>
        <p:spPr>
          <a:xfrm>
            <a:off x="4075349" y="3821366"/>
            <a:ext cx="118173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2000" b="1" dirty="0">
                <a:solidFill>
                  <a:srgbClr val="000000"/>
                </a:solidFill>
                <a:latin typeface="Arial" panose="020B0604020202020204"/>
              </a:rPr>
              <a:t>9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5.2021</a:t>
            </a:r>
          </a:p>
        </p:txBody>
      </p:sp>
      <p:pic>
        <p:nvPicPr>
          <p:cNvPr id="4" name="Picture 3" descr="Map&#10;&#10;Description automatically generated">
            <a:extLst>
              <a:ext uri="{FF2B5EF4-FFF2-40B4-BE49-F238E27FC236}">
                <a16:creationId xmlns:a16="http://schemas.microsoft.com/office/drawing/2014/main" id="{E213277F-41C0-418E-AACA-21A19B2FAF86}"/>
              </a:ext>
            </a:extLst>
          </p:cNvPr>
          <p:cNvPicPr>
            <a:picLocks noChangeAspect="1"/>
          </p:cNvPicPr>
          <p:nvPr>
            <p:custDataLst>
              <p:tags r:id="rId21"/>
            </p:custDataLst>
          </p:nvPr>
        </p:nvPicPr>
        <p:blipFill rotWithShape="1">
          <a:blip r:embed="rId2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80" r="9695"/>
          <a:stretch/>
        </p:blipFill>
        <p:spPr>
          <a:xfrm>
            <a:off x="3726318" y="4343832"/>
            <a:ext cx="3430977" cy="2160000"/>
          </a:xfrm>
          <a:prstGeom prst="rect">
            <a:avLst/>
          </a:prstGeom>
        </p:spPr>
      </p:pic>
      <p:sp>
        <p:nvSpPr>
          <p:cNvPr id="32" name="TextovéPole 31"/>
          <p:cNvSpPr txBox="1"/>
          <p:nvPr/>
        </p:nvSpPr>
        <p:spPr>
          <a:xfrm>
            <a:off x="7297253" y="4101359"/>
            <a:ext cx="3506157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irová zátěž dlouhodobě klesá ve všech regionech. Všechny kraje vykazují týdenní pokles počtu potvrzených případů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rozsahu cca  – 23% </a:t>
            </a:r>
            <a:r>
              <a:rPr lang="cs-CZ" sz="2000" b="1" dirty="0">
                <a:solidFill>
                  <a:prstClr val="black"/>
                </a:solidFill>
              </a:rPr>
              <a:t>až – 30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%. </a:t>
            </a:r>
          </a:p>
        </p:txBody>
      </p:sp>
    </p:spTree>
    <p:extLst>
      <p:ext uri="{BB962C8B-B14F-4D97-AF65-F5344CB8AC3E}">
        <p14:creationId xmlns:p14="http://schemas.microsoft.com/office/powerpoint/2010/main" val="174327266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9211" y="0"/>
            <a:ext cx="10125069" cy="576000"/>
          </a:xfrm>
        </p:spPr>
        <p:txBody>
          <a:bodyPr/>
          <a:lstStyle/>
          <a:p>
            <a:r>
              <a:rPr lang="cs-CZ" dirty="0"/>
              <a:t>7 denní počet nových případů (na 100 000 obyv.)</a:t>
            </a:r>
            <a:r>
              <a:rPr lang="en-US" dirty="0"/>
              <a:t> v </a:t>
            </a:r>
            <a:r>
              <a:rPr lang="en-US" dirty="0" err="1"/>
              <a:t>okresech</a:t>
            </a:r>
            <a:endParaRPr lang="cs-CZ" dirty="0">
              <a:latin typeface="+mj-lt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BE080D6-FC53-427A-9C73-FAC7AD1D2FC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0334280" y="1173213"/>
            <a:ext cx="180000" cy="180000"/>
          </a:xfrm>
          <a:prstGeom prst="rect">
            <a:avLst/>
          </a:prstGeom>
          <a:solidFill>
            <a:srgbClr val="2B83BA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E4925A4-86A9-42E1-B474-EC1CB00F06FB}"/>
              </a:ext>
            </a:extLst>
          </p:cNvPr>
          <p:cNvSpPr/>
          <p:nvPr/>
        </p:nvSpPr>
        <p:spPr>
          <a:xfrm>
            <a:off x="10334280" y="1481939"/>
            <a:ext cx="180000" cy="180000"/>
          </a:xfrm>
          <a:prstGeom prst="rect">
            <a:avLst/>
          </a:prstGeom>
          <a:solidFill>
            <a:srgbClr val="80BFAB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31920F6-822D-4D8E-9016-3491B8DD67F4}"/>
              </a:ext>
            </a:extLst>
          </p:cNvPr>
          <p:cNvSpPr/>
          <p:nvPr/>
        </p:nvSpPr>
        <p:spPr>
          <a:xfrm>
            <a:off x="10334280" y="1790665"/>
            <a:ext cx="180000" cy="180000"/>
          </a:xfrm>
          <a:prstGeom prst="rect">
            <a:avLst/>
          </a:prstGeom>
          <a:solidFill>
            <a:srgbClr val="C7E8AD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3996B81-667A-401C-967B-28C2A48E23CC}"/>
              </a:ext>
            </a:extLst>
          </p:cNvPr>
          <p:cNvSpPr/>
          <p:nvPr/>
        </p:nvSpPr>
        <p:spPr>
          <a:xfrm>
            <a:off x="10334280" y="2099391"/>
            <a:ext cx="180000" cy="180000"/>
          </a:xfrm>
          <a:prstGeom prst="rect">
            <a:avLst/>
          </a:prstGeom>
          <a:solidFill>
            <a:srgbClr val="E2E22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2DB380-5F7C-460F-BFDA-86D337A8CFE1}"/>
              </a:ext>
            </a:extLst>
          </p:cNvPr>
          <p:cNvSpPr/>
          <p:nvPr/>
        </p:nvSpPr>
        <p:spPr>
          <a:xfrm>
            <a:off x="10334280" y="2408117"/>
            <a:ext cx="180000" cy="180000"/>
          </a:xfrm>
          <a:prstGeom prst="rect">
            <a:avLst/>
          </a:prstGeom>
          <a:solidFill>
            <a:srgbClr val="FEAB4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08FD43E-EE03-4737-A366-C1F7D775579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574037" y="1078547"/>
            <a:ext cx="98296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 –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B654345-6D6F-4D0F-813B-A10AFB3293A9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574037" y="1389837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00 – 2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ECECFEB-BD0B-4FAF-9B8B-C8A903E5C1DE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574037" y="1701127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0 – 3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14133F7-D8D6-4D0C-B56B-CAC8C40EE25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0574037" y="2012417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0 – 4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0DDF93-0D60-4DCB-A93B-533691C52B6E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574037" y="2323707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00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B48D847-A97F-4AAA-A08B-55218BF2B7F5}"/>
              </a:ext>
            </a:extLst>
          </p:cNvPr>
          <p:cNvSpPr/>
          <p:nvPr/>
        </p:nvSpPr>
        <p:spPr>
          <a:xfrm>
            <a:off x="10334280" y="2716842"/>
            <a:ext cx="180000" cy="180000"/>
          </a:xfrm>
          <a:prstGeom prst="rect">
            <a:avLst/>
          </a:prstGeom>
          <a:solidFill>
            <a:srgbClr val="F12E15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0FDD93D-9CA2-41FC-953B-E1DA3769E12D}"/>
              </a:ext>
            </a:extLst>
          </p:cNvPr>
          <p:cNvSpPr/>
          <p:nvPr/>
        </p:nvSpPr>
        <p:spPr>
          <a:xfrm>
            <a:off x="10334280" y="3025566"/>
            <a:ext cx="180000" cy="180000"/>
          </a:xfrm>
          <a:prstGeom prst="rect">
            <a:avLst/>
          </a:prstGeom>
          <a:solidFill>
            <a:srgbClr val="AA131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07D8BB-886C-4DD8-BE83-D1D89236D7C4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10574037" y="2634997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6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2588280-9570-4C47-854B-55E5855520E2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0574037" y="2946289"/>
            <a:ext cx="7040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gt; 6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8D61F06-E564-4806-8691-3AC255200BE8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10334280" y="898547"/>
            <a:ext cx="180000" cy="180000"/>
          </a:xfrm>
          <a:prstGeom prst="rect">
            <a:avLst/>
          </a:prstGeom>
          <a:solidFill>
            <a:srgbClr val="4CB9F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2186B9F7-F8F7-4F40-BFDF-925ACE69CA58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10574036" y="834659"/>
            <a:ext cx="59022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lt;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DBD8D815-6F2A-4437-A699-CF36143DAC91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 rotWithShape="1"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99" r="10555"/>
          <a:stretch/>
        </p:blipFill>
        <p:spPr>
          <a:xfrm>
            <a:off x="290378" y="1190760"/>
            <a:ext cx="3993112" cy="2558663"/>
          </a:xfrm>
          <a:prstGeom prst="rect">
            <a:avLst/>
          </a:prstGeom>
        </p:spPr>
      </p:pic>
      <p:sp>
        <p:nvSpPr>
          <p:cNvPr id="23" name="TextBox 29">
            <a:extLst>
              <a:ext uri="{FF2B5EF4-FFF2-40B4-BE49-F238E27FC236}">
                <a16:creationId xmlns:a16="http://schemas.microsoft.com/office/drawing/2014/main" id="{0835FFC6-D4A4-4EFB-89C7-AD533F1516FD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397755" y="790650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2.5.2021</a:t>
            </a:r>
          </a:p>
        </p:txBody>
      </p:sp>
      <p:sp>
        <p:nvSpPr>
          <p:cNvPr id="22" name="TextBox 29">
            <a:extLst>
              <a:ext uri="{FF2B5EF4-FFF2-40B4-BE49-F238E27FC236}">
                <a16:creationId xmlns:a16="http://schemas.microsoft.com/office/drawing/2014/main" id="{F41D84E5-0770-425B-8B76-08CC308AA8AB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4708665" y="834659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5.2021</a:t>
            </a:r>
          </a:p>
        </p:txBody>
      </p:sp>
      <p:pic>
        <p:nvPicPr>
          <p:cNvPr id="3" name="Picture 2" descr="Map&#10;&#10;Description automatically generated">
            <a:extLst>
              <a:ext uri="{FF2B5EF4-FFF2-40B4-BE49-F238E27FC236}">
                <a16:creationId xmlns:a16="http://schemas.microsoft.com/office/drawing/2014/main" id="{F6BC7228-087B-4A2D-8F2B-30A8A3B2E806}"/>
              </a:ext>
            </a:extLst>
          </p:cNvPr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8664" y="1201001"/>
            <a:ext cx="3900797" cy="2556000"/>
          </a:xfrm>
          <a:prstGeom prst="rect">
            <a:avLst/>
          </a:prstGeom>
        </p:spPr>
      </p:pic>
      <p:sp>
        <p:nvSpPr>
          <p:cNvPr id="24" name="TextBox 29">
            <a:extLst>
              <a:ext uri="{FF2B5EF4-FFF2-40B4-BE49-F238E27FC236}">
                <a16:creationId xmlns:a16="http://schemas.microsoft.com/office/drawing/2014/main" id="{CABE1324-0AE2-4CB4-A4FF-B1AB0E1BB134}"/>
              </a:ext>
            </a:extLst>
          </p:cNvPr>
          <p:cNvSpPr txBox="1"/>
          <p:nvPr>
            <p:custDataLst>
              <p:tags r:id="rId16"/>
            </p:custDataLst>
          </p:nvPr>
        </p:nvSpPr>
        <p:spPr>
          <a:xfrm>
            <a:off x="458977" y="3838825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dirty="0">
                <a:solidFill>
                  <a:srgbClr val="000000"/>
                </a:solidFill>
                <a:latin typeface="Arial" panose="020B0604020202020204"/>
              </a:rPr>
              <a:t>22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5.2021</a:t>
            </a:r>
          </a:p>
        </p:txBody>
      </p:sp>
      <p:sp>
        <p:nvSpPr>
          <p:cNvPr id="25" name="TextovéPole 24"/>
          <p:cNvSpPr txBox="1"/>
          <p:nvPr>
            <p:custDataLst>
              <p:tags r:id="rId17"/>
            </p:custDataLst>
          </p:nvPr>
        </p:nvSpPr>
        <p:spPr>
          <a:xfrm>
            <a:off x="9254120" y="4006225"/>
            <a:ext cx="2937880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irová zátěž dlouhodobě klesá ve všech regionech. Všechny kraje vykazují týdenní pokles počtu potvrzených případů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rozsahu cca  – 23% </a:t>
            </a:r>
            <a:r>
              <a:rPr lang="cs-CZ" sz="2000" b="1" dirty="0">
                <a:solidFill>
                  <a:prstClr val="black"/>
                </a:solidFill>
              </a:rPr>
              <a:t>až – 30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%. </a:t>
            </a:r>
          </a:p>
        </p:txBody>
      </p:sp>
      <p:pic>
        <p:nvPicPr>
          <p:cNvPr id="4" name="Picture 3" descr="Map&#10;&#10;Description automatically generated">
            <a:extLst>
              <a:ext uri="{FF2B5EF4-FFF2-40B4-BE49-F238E27FC236}">
                <a16:creationId xmlns:a16="http://schemas.microsoft.com/office/drawing/2014/main" id="{9D74AB72-DC10-4000-961D-28BAE454955D}"/>
              </a:ext>
            </a:extLst>
          </p:cNvPr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464" y="4198543"/>
            <a:ext cx="3900794" cy="2556000"/>
          </a:xfrm>
          <a:prstGeom prst="rect">
            <a:avLst/>
          </a:prstGeom>
        </p:spPr>
      </p:pic>
      <p:sp>
        <p:nvSpPr>
          <p:cNvPr id="26" name="TextBox 29">
            <a:extLst>
              <a:ext uri="{FF2B5EF4-FFF2-40B4-BE49-F238E27FC236}">
                <a16:creationId xmlns:a16="http://schemas.microsoft.com/office/drawing/2014/main" id="{62DA513C-9C1E-48BC-8498-2E3CBCCB47C9}"/>
              </a:ext>
            </a:extLst>
          </p:cNvPr>
          <p:cNvSpPr txBox="1"/>
          <p:nvPr>
            <p:custDataLst>
              <p:tags r:id="rId19"/>
            </p:custDataLst>
          </p:nvPr>
        </p:nvSpPr>
        <p:spPr>
          <a:xfrm>
            <a:off x="4708664" y="3814020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2000" b="1" dirty="0">
                <a:solidFill>
                  <a:srgbClr val="000000"/>
                </a:solidFill>
                <a:latin typeface="Arial" panose="020B0604020202020204"/>
              </a:rPr>
              <a:t>29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5.2021</a:t>
            </a:r>
          </a:p>
        </p:txBody>
      </p:sp>
      <p:pic>
        <p:nvPicPr>
          <p:cNvPr id="13" name="Picture 12" descr="Map&#10;&#10;Description automatically generated">
            <a:extLst>
              <a:ext uri="{FF2B5EF4-FFF2-40B4-BE49-F238E27FC236}">
                <a16:creationId xmlns:a16="http://schemas.microsoft.com/office/drawing/2014/main" id="{9277DAC2-1F85-42ED-86D2-6FCE509F8E50}"/>
              </a:ext>
            </a:extLst>
          </p:cNvPr>
          <p:cNvPicPr>
            <a:picLocks noChangeAspect="1"/>
          </p:cNvPicPr>
          <p:nvPr>
            <p:custDataLst>
              <p:tags r:id="rId20"/>
            </p:custDataLst>
          </p:nvPr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9691" y="4123343"/>
            <a:ext cx="3900794" cy="255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29159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/>
        </p:nvSpPr>
        <p:spPr>
          <a:xfrm>
            <a:off x="0" y="1972805"/>
            <a:ext cx="11910383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šechny</a:t>
            </a:r>
            <a:r>
              <a:rPr kumimoji="0" lang="cs-CZ" sz="32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regiony klesly pod hranici týdenních </a:t>
            </a:r>
            <a:r>
              <a:rPr kumimoji="0" lang="cs-CZ" sz="3200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áchytů nákazy  </a:t>
            </a:r>
            <a:endParaRPr kumimoji="0" lang="cs-CZ" sz="3200" b="1" i="0" u="none" strike="noStrike" kern="1200" cap="none" spc="0" normalizeH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0/100 </a:t>
            </a:r>
            <a:r>
              <a:rPr kumimoji="0" lang="cs-CZ" sz="32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s. obyvatel. </a:t>
            </a: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detailnějším</a:t>
            </a:r>
            <a:r>
              <a:rPr kumimoji="0" lang="cs-CZ" sz="32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3200" b="1" i="0" u="none" strike="noStrike" kern="1200" cap="none" spc="0" normalizeH="0" noProof="0" dirty="0" err="1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álování</a:t>
            </a:r>
            <a:r>
              <a:rPr kumimoji="0" lang="cs-CZ" sz="32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je patrné, že </a:t>
            </a:r>
            <a:r>
              <a:rPr kumimoji="0" lang="cs-CZ" sz="3200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ěkteré kraje jsou již </a:t>
            </a:r>
            <a:r>
              <a:rPr kumimoji="0" lang="cs-CZ" sz="32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val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d hranicí kumulativních týdenních záchytů </a:t>
            </a:r>
            <a:r>
              <a:rPr kumimoji="0" lang="cs-CZ" sz="3200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5/100 </a:t>
            </a:r>
            <a:r>
              <a:rPr kumimoji="0" lang="cs-CZ" sz="32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s. obyv. </a:t>
            </a: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Šipka dolů 5"/>
          <p:cNvSpPr/>
          <p:nvPr/>
        </p:nvSpPr>
        <p:spPr>
          <a:xfrm>
            <a:off x="5088514" y="1346633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439883" y="166286"/>
            <a:ext cx="11249025" cy="1180347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zi regiony se postupně </a:t>
            </a:r>
            <a:r>
              <a:rPr lang="cs-CZ" sz="4000" b="1" dirty="0">
                <a:solidFill>
                  <a:prstClr val="black"/>
                </a:solidFill>
                <a:latin typeface="Calibri" panose="020F0502020204030204"/>
              </a:rPr>
              <a:t>zmenšují </a:t>
            </a: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zdíly</a:t>
            </a:r>
            <a:r>
              <a:rPr kumimoji="0" lang="cs-CZ" sz="4000" b="1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celkové virové zátěži</a:t>
            </a:r>
            <a:endParaRPr kumimoji="0" lang="cs-CZ" sz="4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Šipka dolů 9"/>
          <p:cNvSpPr/>
          <p:nvPr/>
        </p:nvSpPr>
        <p:spPr>
          <a:xfrm>
            <a:off x="5088513" y="3299801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Šipka dolů 11"/>
          <p:cNvSpPr/>
          <p:nvPr/>
        </p:nvSpPr>
        <p:spPr>
          <a:xfrm>
            <a:off x="5088512" y="5769889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3786371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9211" y="0"/>
            <a:ext cx="10125069" cy="576000"/>
          </a:xfrm>
        </p:spPr>
        <p:txBody>
          <a:bodyPr/>
          <a:lstStyle/>
          <a:p>
            <a:r>
              <a:rPr lang="cs-CZ" dirty="0"/>
              <a:t>7 denní počet nových případů (na 100 000 obyv.)</a:t>
            </a:r>
            <a:r>
              <a:rPr lang="en-US" dirty="0"/>
              <a:t> v </a:t>
            </a:r>
            <a:r>
              <a:rPr lang="en-US" dirty="0" err="1"/>
              <a:t>okresech</a:t>
            </a:r>
            <a:endParaRPr lang="cs-CZ" dirty="0">
              <a:latin typeface="+mj-lt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BE080D6-FC53-427A-9C73-FAC7AD1D2FC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0334280" y="1582519"/>
            <a:ext cx="180000" cy="180000"/>
          </a:xfrm>
          <a:prstGeom prst="rect">
            <a:avLst/>
          </a:prstGeom>
          <a:solidFill>
            <a:srgbClr val="2B83BA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E4925A4-86A9-42E1-B474-EC1CB00F06FB}"/>
              </a:ext>
            </a:extLst>
          </p:cNvPr>
          <p:cNvSpPr/>
          <p:nvPr/>
        </p:nvSpPr>
        <p:spPr>
          <a:xfrm>
            <a:off x="10334280" y="1891245"/>
            <a:ext cx="180000" cy="180000"/>
          </a:xfrm>
          <a:prstGeom prst="rect">
            <a:avLst/>
          </a:prstGeom>
          <a:solidFill>
            <a:srgbClr val="80BFAB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31920F6-822D-4D8E-9016-3491B8DD67F4}"/>
              </a:ext>
            </a:extLst>
          </p:cNvPr>
          <p:cNvSpPr/>
          <p:nvPr/>
        </p:nvSpPr>
        <p:spPr>
          <a:xfrm>
            <a:off x="10334280" y="2199971"/>
            <a:ext cx="180000" cy="180000"/>
          </a:xfrm>
          <a:prstGeom prst="rect">
            <a:avLst/>
          </a:prstGeom>
          <a:solidFill>
            <a:srgbClr val="C7E8AD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3996B81-667A-401C-967B-28C2A48E23CC}"/>
              </a:ext>
            </a:extLst>
          </p:cNvPr>
          <p:cNvSpPr/>
          <p:nvPr/>
        </p:nvSpPr>
        <p:spPr>
          <a:xfrm>
            <a:off x="10334280" y="2508697"/>
            <a:ext cx="180000" cy="180000"/>
          </a:xfrm>
          <a:prstGeom prst="rect">
            <a:avLst/>
          </a:prstGeom>
          <a:solidFill>
            <a:srgbClr val="E2E22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2DB380-5F7C-460F-BFDA-86D337A8CFE1}"/>
              </a:ext>
            </a:extLst>
          </p:cNvPr>
          <p:cNvSpPr/>
          <p:nvPr/>
        </p:nvSpPr>
        <p:spPr>
          <a:xfrm>
            <a:off x="10334280" y="2817423"/>
            <a:ext cx="180000" cy="180000"/>
          </a:xfrm>
          <a:prstGeom prst="rect">
            <a:avLst/>
          </a:prstGeom>
          <a:solidFill>
            <a:srgbClr val="FEAB4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08FD43E-EE03-4737-A366-C1F7D775579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574037" y="1487853"/>
            <a:ext cx="98296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 –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B654345-6D6F-4D0F-813B-A10AFB3293A9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574037" y="1799143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00 – 2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ECECFEB-BD0B-4FAF-9B8B-C8A903E5C1DE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574037" y="2110433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0 – 3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14133F7-D8D6-4D0C-B56B-CAC8C40EE25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0574037" y="2421723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0 – 4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0DDF93-0D60-4DCB-A93B-533691C52B6E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574037" y="2733013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00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B48D847-A97F-4AAA-A08B-55218BF2B7F5}"/>
              </a:ext>
            </a:extLst>
          </p:cNvPr>
          <p:cNvSpPr/>
          <p:nvPr/>
        </p:nvSpPr>
        <p:spPr>
          <a:xfrm>
            <a:off x="10334280" y="3126148"/>
            <a:ext cx="180000" cy="180000"/>
          </a:xfrm>
          <a:prstGeom prst="rect">
            <a:avLst/>
          </a:prstGeom>
          <a:solidFill>
            <a:srgbClr val="F12E15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0FDD93D-9CA2-41FC-953B-E1DA3769E12D}"/>
              </a:ext>
            </a:extLst>
          </p:cNvPr>
          <p:cNvSpPr/>
          <p:nvPr/>
        </p:nvSpPr>
        <p:spPr>
          <a:xfrm>
            <a:off x="10334280" y="3434872"/>
            <a:ext cx="180000" cy="180000"/>
          </a:xfrm>
          <a:prstGeom prst="rect">
            <a:avLst/>
          </a:prstGeom>
          <a:solidFill>
            <a:srgbClr val="AA131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07D8BB-886C-4DD8-BE83-D1D89236D7C4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10574037" y="3044303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6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2588280-9570-4C47-854B-55E5855520E2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0574037" y="3355595"/>
            <a:ext cx="7040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gt; 6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8D61F06-E564-4806-8691-3AC255200BE8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10334280" y="1307853"/>
            <a:ext cx="180000" cy="180000"/>
          </a:xfrm>
          <a:prstGeom prst="rect">
            <a:avLst/>
          </a:prstGeom>
          <a:solidFill>
            <a:srgbClr val="4CB9F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2186B9F7-F8F7-4F40-BFDF-925ACE69CA58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10574036" y="1243965"/>
            <a:ext cx="82426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5 -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TextBox 29">
            <a:extLst>
              <a:ext uri="{FF2B5EF4-FFF2-40B4-BE49-F238E27FC236}">
                <a16:creationId xmlns:a16="http://schemas.microsoft.com/office/drawing/2014/main" id="{0835FFC6-D4A4-4EFB-89C7-AD533F1516FD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397755" y="790650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2.5.2021</a:t>
            </a:r>
          </a:p>
        </p:txBody>
      </p:sp>
      <p:sp>
        <p:nvSpPr>
          <p:cNvPr id="22" name="TextBox 29">
            <a:extLst>
              <a:ext uri="{FF2B5EF4-FFF2-40B4-BE49-F238E27FC236}">
                <a16:creationId xmlns:a16="http://schemas.microsoft.com/office/drawing/2014/main" id="{F41D84E5-0770-425B-8B76-08CC308AA8AB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4708665" y="834659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5.2021</a:t>
            </a:r>
          </a:p>
        </p:txBody>
      </p:sp>
      <p:sp>
        <p:nvSpPr>
          <p:cNvPr id="24" name="TextBox 29">
            <a:extLst>
              <a:ext uri="{FF2B5EF4-FFF2-40B4-BE49-F238E27FC236}">
                <a16:creationId xmlns:a16="http://schemas.microsoft.com/office/drawing/2014/main" id="{CABE1324-0AE2-4CB4-A4FF-B1AB0E1BB134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458977" y="3838825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2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5.2021</a:t>
            </a:r>
          </a:p>
        </p:txBody>
      </p:sp>
      <p:sp>
        <p:nvSpPr>
          <p:cNvPr id="25" name="TextovéPole 24"/>
          <p:cNvSpPr txBox="1"/>
          <p:nvPr>
            <p:custDataLst>
              <p:tags r:id="rId15"/>
            </p:custDataLst>
          </p:nvPr>
        </p:nvSpPr>
        <p:spPr>
          <a:xfrm>
            <a:off x="8609458" y="4448677"/>
            <a:ext cx="3582542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irová zátěž dlouhodobě klesá ve všech regionech. Všechny kraje vykazují týdenní pokles počtu potvrzených případů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rozsahu cca  –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5%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ž – 30%. </a:t>
            </a:r>
          </a:p>
        </p:txBody>
      </p:sp>
      <p:sp>
        <p:nvSpPr>
          <p:cNvPr id="26" name="TextBox 29">
            <a:extLst>
              <a:ext uri="{FF2B5EF4-FFF2-40B4-BE49-F238E27FC236}">
                <a16:creationId xmlns:a16="http://schemas.microsoft.com/office/drawing/2014/main" id="{62DA513C-9C1E-48BC-8498-2E3CBCCB47C9}"/>
              </a:ext>
            </a:extLst>
          </p:cNvPr>
          <p:cNvSpPr txBox="1"/>
          <p:nvPr>
            <p:custDataLst>
              <p:tags r:id="rId16"/>
            </p:custDataLst>
          </p:nvPr>
        </p:nvSpPr>
        <p:spPr>
          <a:xfrm>
            <a:off x="4708664" y="3814020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9.5.2021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D1B206D-13F2-46AF-A707-682B8D88A63C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10334280" y="1017511"/>
            <a:ext cx="180000" cy="180000"/>
          </a:xfrm>
          <a:prstGeom prst="rect">
            <a:avLst/>
          </a:prstGeom>
          <a:solidFill>
            <a:srgbClr val="AEDFF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6E19C18A-0242-40A3-8DFB-2F38AED8C204}"/>
              </a:ext>
            </a:extLst>
          </p:cNvPr>
          <p:cNvSpPr txBox="1"/>
          <p:nvPr>
            <p:custDataLst>
              <p:tags r:id="rId18"/>
            </p:custDataLst>
          </p:nvPr>
        </p:nvSpPr>
        <p:spPr>
          <a:xfrm>
            <a:off x="10574036" y="953623"/>
            <a:ext cx="53251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lt;25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7" name="Picture 26" descr="Map&#10;&#10;Description automatically generated">
            <a:extLst>
              <a:ext uri="{FF2B5EF4-FFF2-40B4-BE49-F238E27FC236}">
                <a16:creationId xmlns:a16="http://schemas.microsoft.com/office/drawing/2014/main" id="{B245AF37-1146-44D0-AACD-F8555784CFC2}"/>
              </a:ext>
            </a:extLst>
          </p:cNvPr>
          <p:cNvPicPr>
            <a:picLocks noChangeAspect="1"/>
          </p:cNvPicPr>
          <p:nvPr>
            <p:custDataLst>
              <p:tags r:id="rId19"/>
            </p:custDataLst>
          </p:nvPr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50327" y="4116233"/>
            <a:ext cx="3900794" cy="2556000"/>
          </a:xfrm>
          <a:prstGeom prst="rect">
            <a:avLst/>
          </a:prstGeom>
        </p:spPr>
      </p:pic>
      <p:pic>
        <p:nvPicPr>
          <p:cNvPr id="33" name="Picture 32" descr="Map&#10;&#10;Description automatically generated">
            <a:extLst>
              <a:ext uri="{FF2B5EF4-FFF2-40B4-BE49-F238E27FC236}">
                <a16:creationId xmlns:a16="http://schemas.microsoft.com/office/drawing/2014/main" id="{9E7569A9-8B40-4F81-8E81-F8A334611E28}"/>
              </a:ext>
            </a:extLst>
          </p:cNvPr>
          <p:cNvPicPr>
            <a:picLocks noChangeAspect="1"/>
          </p:cNvPicPr>
          <p:nvPr>
            <p:custDataLst>
              <p:tags r:id="rId20"/>
            </p:custDataLst>
          </p:nvPr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875" y="4214130"/>
            <a:ext cx="3900794" cy="2556000"/>
          </a:xfrm>
          <a:prstGeom prst="rect">
            <a:avLst/>
          </a:prstGeom>
        </p:spPr>
      </p:pic>
      <p:pic>
        <p:nvPicPr>
          <p:cNvPr id="35" name="Picture 34" descr="Map&#10;&#10;Description automatically generated">
            <a:extLst>
              <a:ext uri="{FF2B5EF4-FFF2-40B4-BE49-F238E27FC236}">
                <a16:creationId xmlns:a16="http://schemas.microsoft.com/office/drawing/2014/main" id="{FCC78ABD-3900-458F-BCD2-316A5FD1E697}"/>
              </a:ext>
            </a:extLst>
          </p:cNvPr>
          <p:cNvPicPr>
            <a:picLocks noChangeAspect="1"/>
          </p:cNvPicPr>
          <p:nvPr>
            <p:custDataLst>
              <p:tags r:id="rId21"/>
            </p:custDataLst>
          </p:nvPr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3089" y="1185821"/>
            <a:ext cx="3900794" cy="2556000"/>
          </a:xfrm>
          <a:prstGeom prst="rect">
            <a:avLst/>
          </a:prstGeom>
        </p:spPr>
      </p:pic>
      <p:pic>
        <p:nvPicPr>
          <p:cNvPr id="37" name="Picture 36" descr="Map&#10;&#10;Description automatically generated">
            <a:extLst>
              <a:ext uri="{FF2B5EF4-FFF2-40B4-BE49-F238E27FC236}">
                <a16:creationId xmlns:a16="http://schemas.microsoft.com/office/drawing/2014/main" id="{EE2149BB-4E2F-464C-BF75-6D35A9B910EB}"/>
              </a:ext>
            </a:extLst>
          </p:cNvPr>
          <p:cNvPicPr>
            <a:picLocks noChangeAspect="1"/>
          </p:cNvPicPr>
          <p:nvPr>
            <p:custDataLst>
              <p:tags r:id="rId22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194" y="1175954"/>
            <a:ext cx="3900794" cy="255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57173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Fals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  <p:tag name="SLIDEFAB_SHAPECONDITIONMETACTIONDELETE" val="Tru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  <p:tag name="SLIDEFAB_SHAPECONDITIONMETACTIONDELETE" val="Tru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  <p:tag name="SLIDEFAB_SHAPECONDITIONMETACTIONDELETE" val="Fals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False"/>
  <p:tag name="SLIDEFAB_EXPORTMODE" val="4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False"/>
  <p:tag name="SLIDEFAB_EXPORTMODE" val="4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1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7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4.xml><?xml version="1.0" encoding="utf-8"?>
<a:theme xmlns:a="http://schemas.openxmlformats.org/drawingml/2006/main" name="12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5.xml><?xml version="1.0" encoding="utf-8"?>
<a:theme xmlns:a="http://schemas.openxmlformats.org/drawingml/2006/main" name="5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6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6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8.xml><?xml version="1.0" encoding="utf-8"?>
<a:theme xmlns:a="http://schemas.openxmlformats.org/drawingml/2006/main" name="2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9.xml><?xml version="1.0" encoding="utf-8"?>
<a:theme xmlns:a="http://schemas.openxmlformats.org/drawingml/2006/main" name="9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898</TotalTime>
  <Words>3376</Words>
  <Application>Microsoft Office PowerPoint</Application>
  <PresentationFormat>Širokoúhlá obrazovka</PresentationFormat>
  <Paragraphs>591</Paragraphs>
  <Slides>46</Slides>
  <Notes>18</Notes>
  <HiddenSlides>0</HiddenSlides>
  <MMClips>0</MMClips>
  <ScaleCrop>false</ScaleCrop>
  <HeadingPairs>
    <vt:vector size="6" baseType="variant">
      <vt:variant>
        <vt:lpstr>Použitá písma</vt:lpstr>
      </vt:variant>
      <vt:variant>
        <vt:i4>5</vt:i4>
      </vt:variant>
      <vt:variant>
        <vt:lpstr>Motiv</vt:lpstr>
      </vt:variant>
      <vt:variant>
        <vt:i4>9</vt:i4>
      </vt:variant>
      <vt:variant>
        <vt:lpstr>Nadpisy snímků</vt:lpstr>
      </vt:variant>
      <vt:variant>
        <vt:i4>46</vt:i4>
      </vt:variant>
    </vt:vector>
  </HeadingPairs>
  <TitlesOfParts>
    <vt:vector size="60" baseType="lpstr">
      <vt:lpstr>Arial (Základní text)</vt:lpstr>
      <vt:lpstr>Calibri Light</vt:lpstr>
      <vt:lpstr>Arial</vt:lpstr>
      <vt:lpstr>Calibri</vt:lpstr>
      <vt:lpstr>Times New Roman</vt:lpstr>
      <vt:lpstr>1_Motiv Office</vt:lpstr>
      <vt:lpstr>3_Motiv Office</vt:lpstr>
      <vt:lpstr>7_Motiv Office</vt:lpstr>
      <vt:lpstr>12_Motiv Office</vt:lpstr>
      <vt:lpstr>5_Motiv Office</vt:lpstr>
      <vt:lpstr>Motiv Office</vt:lpstr>
      <vt:lpstr>6_Motiv Office</vt:lpstr>
      <vt:lpstr>2_Motiv Office</vt:lpstr>
      <vt:lpstr>9_Motiv Office</vt:lpstr>
      <vt:lpstr>Datová a informační základna  pro management pandemie COVID-19</vt:lpstr>
      <vt:lpstr>Prezentace aplikace PowerPoint</vt:lpstr>
      <vt:lpstr>Prezentace aplikace PowerPoint</vt:lpstr>
      <vt:lpstr>Počty COVID-19 pozitivních v ČR na 100 000 v populaci</vt:lpstr>
      <vt:lpstr>Datová a informační základna  pro management pandemie COVID-19</vt:lpstr>
      <vt:lpstr>7 denní počet nových případů (na 100 000 obyv.) v okresech</vt:lpstr>
      <vt:lpstr>7 denní počet nových případů (na 100 000 obyv.) v okresech</vt:lpstr>
      <vt:lpstr>Prezentace aplikace PowerPoint</vt:lpstr>
      <vt:lpstr>7 denní počet nových případů (na 100 000 obyv.) v okresech</vt:lpstr>
      <vt:lpstr>Zátěž regionů ve vzájemném srovnání krajů k 30.5.</vt:lpstr>
      <vt:lpstr>Vybrané ukazatele – srovnání regionů</vt:lpstr>
      <vt:lpstr>Vybrané ukazatele – srovnání regionů</vt:lpstr>
      <vt:lpstr>Počty COVID-19 pozitivních na 100 000 v populaci v krajích a ČR</vt:lpstr>
      <vt:lpstr>R (zjednodušený výpočet) - 7 denní úseky: srovnání krajů k 30.5.</vt:lpstr>
      <vt:lpstr>Relativní pozitivita testů s diagnostickou/epidemiologickou indikací za 7 dní</vt:lpstr>
      <vt:lpstr>Nové symptomatické případy za 7 dní na 100 000 obyvatel</vt:lpstr>
      <vt:lpstr>Nové případy za 7 dní na 100 000 obyvatel: 20 okresů s nejvyššími hodnotami k 29.5.</vt:lpstr>
      <vt:lpstr>Nové případy za 7 dní na 100 000 obyvatel: 20 okresů s nejvyššími hodnotami k 29.5.</vt:lpstr>
      <vt:lpstr>20 okresů s nejvyššími hodnotami R k 29.5. a jejich celková populační zátěž </vt:lpstr>
      <vt:lpstr>Přehled okresů s poteniálně rizikovými epidemickými hodnotami</vt:lpstr>
      <vt:lpstr>Datová a informační základna  pro management pandemie COVID-19</vt:lpstr>
      <vt:lpstr>Prezentace aplikace PowerPoint</vt:lpstr>
      <vt:lpstr>Prezentace aplikace PowerPoint</vt:lpstr>
      <vt:lpstr>Modelové scénáře: 7denní hodnoty na 100 tisíc obyvatel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Datová a informační základna  pro management pandemie COVID-19</vt:lpstr>
      <vt:lpstr>Typologie pozitivních případů</vt:lpstr>
      <vt:lpstr>Podíl pozitivních testů: diagnostické a klinické indikace </vt:lpstr>
      <vt:lpstr>Podíl pozitivních testů: epidemiologické indikace</vt:lpstr>
      <vt:lpstr>Datová a informační základna  pro management pandemie COVID-19</vt:lpstr>
      <vt:lpstr>Kumulativní počet testů provedených přímo ve školách </vt:lpstr>
      <vt:lpstr>Prezentace aplikace PowerPoint</vt:lpstr>
      <vt:lpstr>Testy hlášení ze škol – průběžné výsledky</vt:lpstr>
      <vt:lpstr>Populační záchyty nákazy u dětí různých věkových kategorií</vt:lpstr>
      <vt:lpstr>Počty COVID-19 pozitivních v ČR na 100 000 v populaci</vt:lpstr>
      <vt:lpstr>Testy ve školách – průběžné výsledky (dle CFA) 12.4–28.5.2021 </vt:lpstr>
      <vt:lpstr>Počty nově COVID-19 pozitivních na 100 testů u dětí v čase</vt:lpstr>
      <vt:lpstr>Nové případy za 7 dní na 100 000 obyvatel: srovnání krajů k 28.5.: 0–4 let</vt:lpstr>
      <vt:lpstr>Nové případy za 7 dní na 100 000 obyvatel: srovnání krajů k 28.5.: 5–11 let</vt:lpstr>
      <vt:lpstr>Nové případy za 7 dní na 100 000 obyvatel: srovnání krajů k 28.5.: 12–19 let</vt:lpstr>
      <vt:lpstr> DĚKUJI ZA POZORNOS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tiepidemický systém ČR PES</dc:title>
  <dc:creator>Martin Komenda</dc:creator>
  <cp:lastModifiedBy>Ladislav Dušek</cp:lastModifiedBy>
  <cp:revision>843</cp:revision>
  <dcterms:created xsi:type="dcterms:W3CDTF">2020-11-11T17:36:28Z</dcterms:created>
  <dcterms:modified xsi:type="dcterms:W3CDTF">2021-05-31T18:16:46Z</dcterms:modified>
</cp:coreProperties>
</file>